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7" r:id="rId1"/>
    <p:sldMasterId id="2147483776" r:id="rId2"/>
  </p:sldMasterIdLst>
  <p:notesMasterIdLst>
    <p:notesMasterId r:id="rId6"/>
  </p:notesMasterIdLst>
  <p:handoutMasterIdLst>
    <p:handoutMasterId r:id="rId7"/>
  </p:handoutMasterIdLst>
  <p:sldIdLst>
    <p:sldId id="609" r:id="rId3"/>
    <p:sldId id="616" r:id="rId4"/>
    <p:sldId id="614" r:id="rId5"/>
  </p:sldIdLst>
  <p:sldSz cx="9144000" cy="6858000" type="screen4x3"/>
  <p:notesSz cx="6807200" cy="9939338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E87A2B"/>
    <a:srgbClr val="6A7173"/>
    <a:srgbClr val="FFB500"/>
    <a:srgbClr val="C85D56"/>
    <a:srgbClr val="E6E6E6"/>
    <a:srgbClr val="CC0000"/>
    <a:srgbClr val="BF0000"/>
    <a:srgbClr val="DCDCDC"/>
    <a:srgbClr val="A0A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7" autoAdjust="0"/>
    <p:restoredTop sz="95701" autoAdjust="0"/>
  </p:normalViewPr>
  <p:slideViewPr>
    <p:cSldViewPr snapToGrid="0" snapToObjects="1">
      <p:cViewPr>
        <p:scale>
          <a:sx n="100" d="100"/>
          <a:sy n="100" d="100"/>
        </p:scale>
        <p:origin x="144" y="16"/>
      </p:cViewPr>
      <p:guideLst>
        <p:guide orient="horz" pos="2137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0" d="100"/>
          <a:sy n="160" d="100"/>
        </p:scale>
        <p:origin x="564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8CEE16D9-4724-F349-8AEB-FE76DA7FA7DC}" type="datetimeFigureOut">
              <a:rPr kumimoji="1" lang="zh-CN" altLang="en-US" smtClean="0"/>
              <a:t>2018/4/27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3372AA9-0B88-0347-A95D-A5BF860452F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7177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5282661-8951-486A-80A3-5A15653D0ACD}" type="datetimeFigureOut">
              <a:rPr lang="zh-CN" altLang="en-US" smtClean="0"/>
              <a:t>2018/4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040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4114132-ADB0-44BA-ADDA-6C2A488BA8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840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0.emf"/><Relationship Id="rId6" Type="http://schemas.openxmlformats.org/officeDocument/2006/relationships/image" Target="../media/image8.png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1" y="6"/>
            <a:ext cx="7411907" cy="1095121"/>
          </a:xfr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01" b="1" kern="1200" spc="0" baseline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9101" y="1163369"/>
            <a:ext cx="8205805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626"/>
            </a:lvl2pPr>
            <a:lvl3pPr>
              <a:defRPr sz="2401"/>
            </a:lvl3pPr>
            <a:lvl4pPr>
              <a:defRPr sz="2176"/>
            </a:lvl4pPr>
            <a:lvl5pPr>
              <a:defRPr sz="2026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8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76955" y="119927"/>
            <a:ext cx="687171" cy="85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50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0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6598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888" y="545301"/>
            <a:ext cx="6522862" cy="54610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886" y="1508647"/>
            <a:ext cx="8142973" cy="5678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9984" y="2076537"/>
            <a:ext cx="8143875" cy="4263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229" y="548940"/>
            <a:ext cx="1108348" cy="27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5724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1" y="6"/>
            <a:ext cx="7323687" cy="10951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8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88304" y="147907"/>
            <a:ext cx="664473" cy="82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507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案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686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101" y="1015444"/>
            <a:ext cx="820580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3901"/>
              </a:lnSpc>
              <a:defRPr sz="2701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8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915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Chrome Yellow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4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7" y="1443041"/>
            <a:ext cx="8207375" cy="1323975"/>
          </a:xfrm>
        </p:spPr>
        <p:txBody>
          <a:bodyPr wrap="square" lIns="0" tIns="0" rIns="0" bIns="95983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1" b="1" i="0">
                <a:solidFill>
                  <a:schemeClr val="tx1"/>
                </a:solidFill>
                <a:latin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8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68049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_White_Top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4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347031" y="2173454"/>
            <a:ext cx="4449552" cy="60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776" i="0" baseline="0" dirty="0">
                <a:solidFill>
                  <a:srgbClr val="FFB500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/>
              <a:t>Click to add tit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61967" y="2159472"/>
            <a:ext cx="2640123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25" dirty="0">
                <a:solidFill>
                  <a:srgbClr val="FFB500"/>
                </a:solidFill>
                <a:latin typeface="+mn-lt"/>
                <a:ea typeface="+mn-ea"/>
                <a:cs typeface="+mn-cs"/>
              </a:defRPr>
            </a:lvl1pPr>
            <a:lvl2pPr marL="4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add subtitle</a:t>
            </a:r>
            <a:endParaRPr lang="de-DE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461967" y="41629"/>
            <a:ext cx="2306397" cy="2060440"/>
            <a:chOff x="5701703" y="682760"/>
            <a:chExt cx="3074395" cy="2060440"/>
          </a:xfrm>
        </p:grpSpPr>
        <p:sp>
          <p:nvSpPr>
            <p:cNvPr id="15" name="Freeform 14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B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61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271" y="887465"/>
            <a:ext cx="3796746" cy="2464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209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 defTabSz="686166">
              <a:defRPr/>
            </a:pPr>
            <a:fld id="{CD26B40A-7A2D-1643-A5E3-095B2EAF6671}" type="slidenum">
              <a:rPr lang="en-US" smtClean="0">
                <a:solidFill>
                  <a:srgbClr val="FFFFFF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474055" y="-2590800"/>
            <a:ext cx="8104217" cy="9274175"/>
            <a:chOff x="474054" y="-902309"/>
            <a:chExt cx="8104217" cy="7585684"/>
          </a:xfrm>
        </p:grpSpPr>
        <p:grpSp>
          <p:nvGrpSpPr>
            <p:cNvPr id="91" name="Group 23"/>
            <p:cNvGrpSpPr>
              <a:grpSpLocks/>
            </p:cNvGrpSpPr>
            <p:nvPr userDrawn="1"/>
          </p:nvGrpSpPr>
          <p:grpSpPr bwMode="auto">
            <a:xfrm>
              <a:off x="6815471" y="4740911"/>
              <a:ext cx="1762800" cy="1942464"/>
              <a:chOff x="8731978" y="3934603"/>
              <a:chExt cx="2465263" cy="2716361"/>
            </a:xfrm>
          </p:grpSpPr>
          <p:grpSp>
            <p:nvGrpSpPr>
              <p:cNvPr id="140" name="Group 24"/>
              <p:cNvGrpSpPr>
                <a:grpSpLocks/>
              </p:cNvGrpSpPr>
              <p:nvPr/>
            </p:nvGrpSpPr>
            <p:grpSpPr bwMode="auto">
              <a:xfrm>
                <a:off x="10251199" y="4091793"/>
                <a:ext cx="389631" cy="389626"/>
                <a:chOff x="10284619" y="4038600"/>
                <a:chExt cx="389626" cy="389626"/>
              </a:xfrm>
            </p:grpSpPr>
            <p:sp>
              <p:nvSpPr>
                <p:cNvPr id="177" name="Oval 176"/>
                <p:cNvSpPr/>
                <p:nvPr/>
              </p:nvSpPr>
              <p:spPr>
                <a:xfrm>
                  <a:off x="10283807" y="4038058"/>
                  <a:ext cx="390786" cy="390756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Oval 177"/>
                <p:cNvSpPr/>
                <p:nvPr/>
              </p:nvSpPr>
              <p:spPr>
                <a:xfrm>
                  <a:off x="10319958" y="4074207"/>
                  <a:ext cx="318483" cy="31845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oup 25"/>
              <p:cNvGrpSpPr>
                <a:grpSpLocks/>
              </p:cNvGrpSpPr>
              <p:nvPr/>
            </p:nvGrpSpPr>
            <p:grpSpPr bwMode="auto">
              <a:xfrm>
                <a:off x="9651181" y="3934603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5" name="Oval 174"/>
                <p:cNvSpPr/>
                <p:nvPr/>
              </p:nvSpPr>
              <p:spPr>
                <a:xfrm>
                  <a:off x="10284756" y="4038600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Oval 175"/>
                <p:cNvSpPr/>
                <p:nvPr/>
              </p:nvSpPr>
              <p:spPr>
                <a:xfrm>
                  <a:off x="10320189" y="4074030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Group 26"/>
              <p:cNvGrpSpPr>
                <a:grpSpLocks/>
              </p:cNvGrpSpPr>
              <p:nvPr/>
            </p:nvGrpSpPr>
            <p:grpSpPr bwMode="auto">
              <a:xfrm>
                <a:off x="9022405" y="4157925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3" name="Oval 172"/>
                <p:cNvSpPr/>
                <p:nvPr/>
              </p:nvSpPr>
              <p:spPr>
                <a:xfrm>
                  <a:off x="10285282" y="403919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l 173"/>
                <p:cNvSpPr/>
                <p:nvPr/>
              </p:nvSpPr>
              <p:spPr>
                <a:xfrm>
                  <a:off x="10320715" y="407462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3" name="Group 27"/>
              <p:cNvGrpSpPr>
                <a:grpSpLocks/>
              </p:cNvGrpSpPr>
              <p:nvPr/>
            </p:nvGrpSpPr>
            <p:grpSpPr bwMode="auto">
              <a:xfrm>
                <a:off x="10741955" y="4648196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1" name="Oval 170"/>
                <p:cNvSpPr/>
                <p:nvPr/>
              </p:nvSpPr>
              <p:spPr>
                <a:xfrm>
                  <a:off x="10285643" y="4039611"/>
                  <a:ext cx="387549" cy="387517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Oval 171"/>
                <p:cNvSpPr/>
                <p:nvPr/>
              </p:nvSpPr>
              <p:spPr>
                <a:xfrm>
                  <a:off x="10321076" y="4075041"/>
                  <a:ext cx="316683" cy="316657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4" name="Group 28"/>
              <p:cNvGrpSpPr>
                <a:grpSpLocks/>
              </p:cNvGrpSpPr>
              <p:nvPr/>
            </p:nvGrpSpPr>
            <p:grpSpPr bwMode="auto">
              <a:xfrm>
                <a:off x="10894355" y="5367540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9" name="Oval 168"/>
                <p:cNvSpPr/>
                <p:nvPr/>
              </p:nvSpPr>
              <p:spPr>
                <a:xfrm>
                  <a:off x="10284481" y="4037653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Oval 169"/>
                <p:cNvSpPr/>
                <p:nvPr/>
              </p:nvSpPr>
              <p:spPr>
                <a:xfrm>
                  <a:off x="10319914" y="4073083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5" name="Group 29"/>
              <p:cNvGrpSpPr>
                <a:grpSpLocks/>
              </p:cNvGrpSpPr>
              <p:nvPr/>
            </p:nvGrpSpPr>
            <p:grpSpPr bwMode="auto">
              <a:xfrm>
                <a:off x="8731978" y="5296132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7" name="Oval 166"/>
                <p:cNvSpPr/>
                <p:nvPr/>
              </p:nvSpPr>
              <p:spPr>
                <a:xfrm>
                  <a:off x="10284619" y="403872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>
                <a:xfrm>
                  <a:off x="10320052" y="407415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6" name="Group 30"/>
              <p:cNvGrpSpPr>
                <a:grpSpLocks/>
              </p:cNvGrpSpPr>
              <p:nvPr/>
            </p:nvGrpSpPr>
            <p:grpSpPr bwMode="auto">
              <a:xfrm>
                <a:off x="8946677" y="6053341"/>
                <a:ext cx="349377" cy="349373"/>
                <a:chOff x="10284619" y="4038600"/>
                <a:chExt cx="389626" cy="389626"/>
              </a:xfrm>
            </p:grpSpPr>
            <p:sp>
              <p:nvSpPr>
                <p:cNvPr id="165" name="Oval 164"/>
                <p:cNvSpPr/>
                <p:nvPr/>
              </p:nvSpPr>
              <p:spPr>
                <a:xfrm>
                  <a:off x="10285170" y="4038934"/>
                  <a:ext cx="389736" cy="38970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Oval 165"/>
                <p:cNvSpPr/>
                <p:nvPr/>
              </p:nvSpPr>
              <p:spPr>
                <a:xfrm>
                  <a:off x="10319728" y="4073489"/>
                  <a:ext cx="320620" cy="320593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7" name="Group 31"/>
              <p:cNvGrpSpPr>
                <a:grpSpLocks/>
              </p:cNvGrpSpPr>
              <p:nvPr/>
            </p:nvGrpSpPr>
            <p:grpSpPr bwMode="auto">
              <a:xfrm>
                <a:off x="10493704" y="6172197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3" name="Oval 162"/>
                <p:cNvSpPr/>
                <p:nvPr/>
              </p:nvSpPr>
              <p:spPr>
                <a:xfrm>
                  <a:off x="10283919" y="4038865"/>
                  <a:ext cx="390053" cy="39002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Oval 163"/>
                <p:cNvSpPr/>
                <p:nvPr/>
              </p:nvSpPr>
              <p:spPr>
                <a:xfrm>
                  <a:off x="10319379" y="4074323"/>
                  <a:ext cx="319133" cy="31910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8" name="Group 32"/>
              <p:cNvGrpSpPr>
                <a:grpSpLocks/>
              </p:cNvGrpSpPr>
              <p:nvPr/>
            </p:nvGrpSpPr>
            <p:grpSpPr bwMode="auto">
              <a:xfrm>
                <a:off x="9746551" y="6329390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1" name="Oval 160"/>
                <p:cNvSpPr/>
                <p:nvPr/>
              </p:nvSpPr>
              <p:spPr>
                <a:xfrm>
                  <a:off x="10283917" y="4038205"/>
                  <a:ext cx="390053" cy="390021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l 161"/>
                <p:cNvSpPr/>
                <p:nvPr/>
              </p:nvSpPr>
              <p:spPr>
                <a:xfrm>
                  <a:off x="10319377" y="4073660"/>
                  <a:ext cx="319133" cy="319110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" name="Group 33"/>
              <p:cNvGrpSpPr>
                <a:grpSpLocks/>
              </p:cNvGrpSpPr>
              <p:nvPr userDrawn="1"/>
            </p:nvGrpSpPr>
            <p:grpSpPr bwMode="auto">
              <a:xfrm>
                <a:off x="9751344" y="4876798"/>
                <a:ext cx="557849" cy="557841"/>
                <a:chOff x="10284609" y="4038595"/>
                <a:chExt cx="389626" cy="389625"/>
              </a:xfrm>
            </p:grpSpPr>
            <p:sp>
              <p:nvSpPr>
                <p:cNvPr id="159" name="Oval 158"/>
                <p:cNvSpPr/>
                <p:nvPr/>
              </p:nvSpPr>
              <p:spPr>
                <a:xfrm>
                  <a:off x="10284464" y="4038182"/>
                  <a:ext cx="389580" cy="389549"/>
                </a:xfrm>
                <a:prstGeom prst="ellipse">
                  <a:avLst/>
                </a:prstGeom>
                <a:solidFill>
                  <a:schemeClr val="bg1">
                    <a:alpha val="5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l 159"/>
                <p:cNvSpPr/>
                <p:nvPr/>
              </p:nvSpPr>
              <p:spPr>
                <a:xfrm>
                  <a:off x="10319334" y="4073049"/>
                  <a:ext cx="319840" cy="319815"/>
                </a:xfrm>
                <a:prstGeom prst="ellipse">
                  <a:avLst/>
                </a:prstGeom>
                <a:solidFill>
                  <a:srgbClr val="887799">
                    <a:alpha val="7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0" name="Rectangle 149"/>
              <p:cNvSpPr/>
              <p:nvPr/>
            </p:nvSpPr>
            <p:spPr>
              <a:xfrm rot="17768796">
                <a:off x="10015417" y="4661891"/>
                <a:ext cx="485433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 rot="15582022">
                <a:off x="9568682" y="4542254"/>
                <a:ext cx="659295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 rot="20441708">
                <a:off x="10267603" y="4929569"/>
                <a:ext cx="513023" cy="36150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152"/>
              <p:cNvSpPr/>
              <p:nvPr/>
            </p:nvSpPr>
            <p:spPr>
              <a:xfrm rot="20739807">
                <a:off x="9021199" y="5303112"/>
                <a:ext cx="752318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Rectangle 153"/>
              <p:cNvSpPr/>
              <p:nvPr/>
            </p:nvSpPr>
            <p:spPr>
              <a:xfrm rot="1060210">
                <a:off x="10272767" y="5337540"/>
                <a:ext cx="652469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>
              <a:xfrm rot="3726459">
                <a:off x="9937966" y="5775633"/>
                <a:ext cx="88824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>
              <a:xfrm rot="18532203">
                <a:off x="9056534" y="5708499"/>
                <a:ext cx="95021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/>
              <p:cNvSpPr/>
              <p:nvPr/>
            </p:nvSpPr>
            <p:spPr>
              <a:xfrm rot="13592697">
                <a:off x="9159819" y="4675662"/>
                <a:ext cx="781513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 rot="16478464">
                <a:off x="9496388" y="5862564"/>
                <a:ext cx="896847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 rot="540000">
              <a:off x="1689339" y="5086732"/>
              <a:ext cx="5925301" cy="180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 userDrawn="1"/>
          </p:nvGrpSpPr>
          <p:grpSpPr>
            <a:xfrm>
              <a:off x="474054" y="2905125"/>
              <a:ext cx="2751466" cy="3107611"/>
              <a:chOff x="474054" y="2381250"/>
              <a:chExt cx="2751466" cy="3107611"/>
            </a:xfrm>
          </p:grpSpPr>
          <p:grpSp>
            <p:nvGrpSpPr>
              <p:cNvPr id="96" name="Group 95"/>
              <p:cNvGrpSpPr/>
              <p:nvPr/>
            </p:nvGrpSpPr>
            <p:grpSpPr>
              <a:xfrm>
                <a:off x="663536" y="2578890"/>
                <a:ext cx="2482217" cy="2717284"/>
                <a:chOff x="914400" y="2092325"/>
                <a:chExt cx="3167063" cy="3467100"/>
              </a:xfrm>
              <a:solidFill>
                <a:schemeClr val="bg1">
                  <a:lumMod val="85000"/>
                  <a:alpha val="48000"/>
                </a:schemeClr>
              </a:solidFill>
            </p:grpSpPr>
            <p:grpSp>
              <p:nvGrpSpPr>
                <p:cNvPr id="129" name="Group 90"/>
                <p:cNvGrpSpPr>
                  <a:grpSpLocks/>
                </p:cNvGrpSpPr>
                <p:nvPr/>
              </p:nvGrpSpPr>
              <p:grpSpPr bwMode="auto">
                <a:xfrm>
                  <a:off x="1223963" y="2730500"/>
                  <a:ext cx="2857500" cy="2081213"/>
                  <a:chOff x="1224511" y="2730600"/>
                  <a:chExt cx="2856188" cy="2081057"/>
                </a:xfrm>
                <a:grpFill/>
              </p:grpSpPr>
              <p:sp>
                <p:nvSpPr>
                  <p:cNvPr id="138" name="Freeform 286"/>
                  <p:cNvSpPr>
                    <a:spLocks/>
                  </p:cNvSpPr>
                  <p:nvPr/>
                </p:nvSpPr>
                <p:spPr bwMode="auto">
                  <a:xfrm>
                    <a:off x="1981718" y="3799659"/>
                    <a:ext cx="2098981" cy="158284"/>
                  </a:xfrm>
                  <a:custGeom>
                    <a:avLst/>
                    <a:gdLst>
                      <a:gd name="T0" fmla="*/ 0 w 915"/>
                      <a:gd name="T1" fmla="*/ 69 h 69"/>
                      <a:gd name="T2" fmla="*/ 915 w 915"/>
                      <a:gd name="T3" fmla="*/ 16 h 69"/>
                      <a:gd name="T4" fmla="*/ 915 w 915"/>
                      <a:gd name="T5" fmla="*/ 0 h 69"/>
                      <a:gd name="T6" fmla="*/ 0 w 915"/>
                      <a:gd name="T7" fmla="*/ 53 h 69"/>
                      <a:gd name="T8" fmla="*/ 0 w 915"/>
                      <a:gd name="T9" fmla="*/ 69 h 6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915" h="69">
                        <a:moveTo>
                          <a:pt x="0" y="69"/>
                        </a:moveTo>
                        <a:lnTo>
                          <a:pt x="915" y="16"/>
                        </a:lnTo>
                        <a:lnTo>
                          <a:pt x="915" y="0"/>
                        </a:lnTo>
                        <a:lnTo>
                          <a:pt x="0" y="53"/>
                        </a:lnTo>
                        <a:lnTo>
                          <a:pt x="0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9" name="Freeform 367"/>
                  <p:cNvSpPr>
                    <a:spLocks noEditPoints="1"/>
                  </p:cNvSpPr>
                  <p:nvPr/>
                </p:nvSpPr>
                <p:spPr bwMode="auto">
                  <a:xfrm>
                    <a:off x="1224511" y="2730600"/>
                    <a:ext cx="2026223" cy="2081057"/>
                  </a:xfrm>
                  <a:custGeom>
                    <a:avLst/>
                    <a:gdLst>
                      <a:gd name="T0" fmla="*/ 72 w 218"/>
                      <a:gd name="T1" fmla="*/ 220 h 224"/>
                      <a:gd name="T2" fmla="*/ 28 w 218"/>
                      <a:gd name="T3" fmla="*/ 204 h 224"/>
                      <a:gd name="T4" fmla="*/ 7 w 218"/>
                      <a:gd name="T5" fmla="*/ 139 h 224"/>
                      <a:gd name="T6" fmla="*/ 46 w 218"/>
                      <a:gd name="T7" fmla="*/ 57 h 224"/>
                      <a:gd name="T8" fmla="*/ 146 w 218"/>
                      <a:gd name="T9" fmla="*/ 4 h 224"/>
                      <a:gd name="T10" fmla="*/ 190 w 218"/>
                      <a:gd name="T11" fmla="*/ 20 h 224"/>
                      <a:gd name="T12" fmla="*/ 211 w 218"/>
                      <a:gd name="T13" fmla="*/ 85 h 224"/>
                      <a:gd name="T14" fmla="*/ 172 w 218"/>
                      <a:gd name="T15" fmla="*/ 167 h 224"/>
                      <a:gd name="T16" fmla="*/ 72 w 218"/>
                      <a:gd name="T17" fmla="*/ 220 h 224"/>
                      <a:gd name="T18" fmla="*/ 146 w 218"/>
                      <a:gd name="T19" fmla="*/ 0 h 224"/>
                      <a:gd name="T20" fmla="*/ 43 w 218"/>
                      <a:gd name="T21" fmla="*/ 54 h 224"/>
                      <a:gd name="T22" fmla="*/ 3 w 218"/>
                      <a:gd name="T23" fmla="*/ 138 h 224"/>
                      <a:gd name="T24" fmla="*/ 25 w 218"/>
                      <a:gd name="T25" fmla="*/ 208 h 224"/>
                      <a:gd name="T26" fmla="*/ 72 w 218"/>
                      <a:gd name="T27" fmla="*/ 224 h 224"/>
                      <a:gd name="T28" fmla="*/ 175 w 218"/>
                      <a:gd name="T29" fmla="*/ 170 h 224"/>
                      <a:gd name="T30" fmla="*/ 215 w 218"/>
                      <a:gd name="T31" fmla="*/ 86 h 224"/>
                      <a:gd name="T32" fmla="*/ 193 w 218"/>
                      <a:gd name="T33" fmla="*/ 17 h 224"/>
                      <a:gd name="T34" fmla="*/ 146 w 218"/>
                      <a:gd name="T35" fmla="*/ 0 h 22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0" t="0" r="r" b="b"/>
                    <a:pathLst>
                      <a:path w="218" h="224">
                        <a:moveTo>
                          <a:pt x="72" y="220"/>
                        </a:moveTo>
                        <a:cubicBezTo>
                          <a:pt x="55" y="220"/>
                          <a:pt x="40" y="214"/>
                          <a:pt x="28" y="204"/>
                        </a:cubicBezTo>
                        <a:cubicBezTo>
                          <a:pt x="11" y="190"/>
                          <a:pt x="4" y="166"/>
                          <a:pt x="7" y="139"/>
                        </a:cubicBezTo>
                        <a:cubicBezTo>
                          <a:pt x="10" y="111"/>
                          <a:pt x="24" y="82"/>
                          <a:pt x="46" y="57"/>
                        </a:cubicBezTo>
                        <a:cubicBezTo>
                          <a:pt x="74" y="25"/>
                          <a:pt x="113" y="4"/>
                          <a:pt x="146" y="4"/>
                        </a:cubicBezTo>
                        <a:cubicBezTo>
                          <a:pt x="163" y="4"/>
                          <a:pt x="178" y="10"/>
                          <a:pt x="190" y="20"/>
                        </a:cubicBezTo>
                        <a:cubicBezTo>
                          <a:pt x="207" y="34"/>
                          <a:pt x="214" y="58"/>
                          <a:pt x="211" y="85"/>
                        </a:cubicBezTo>
                        <a:cubicBezTo>
                          <a:pt x="208" y="113"/>
                          <a:pt x="194" y="143"/>
                          <a:pt x="172" y="167"/>
                        </a:cubicBezTo>
                        <a:cubicBezTo>
                          <a:pt x="144" y="200"/>
                          <a:pt x="105" y="220"/>
                          <a:pt x="72" y="220"/>
                        </a:cubicBezTo>
                        <a:moveTo>
                          <a:pt x="146" y="0"/>
                        </a:moveTo>
                        <a:cubicBezTo>
                          <a:pt x="111" y="0"/>
                          <a:pt x="72" y="20"/>
                          <a:pt x="43" y="54"/>
                        </a:cubicBezTo>
                        <a:cubicBezTo>
                          <a:pt x="20" y="79"/>
                          <a:pt x="6" y="109"/>
                          <a:pt x="3" y="138"/>
                        </a:cubicBezTo>
                        <a:cubicBezTo>
                          <a:pt x="0" y="167"/>
                          <a:pt x="8" y="192"/>
                          <a:pt x="25" y="208"/>
                        </a:cubicBezTo>
                        <a:cubicBezTo>
                          <a:pt x="38" y="218"/>
                          <a:pt x="54" y="224"/>
                          <a:pt x="72" y="224"/>
                        </a:cubicBezTo>
                        <a:cubicBezTo>
                          <a:pt x="107" y="224"/>
                          <a:pt x="146" y="204"/>
                          <a:pt x="175" y="170"/>
                        </a:cubicBezTo>
                        <a:cubicBezTo>
                          <a:pt x="198" y="145"/>
                          <a:pt x="212" y="115"/>
                          <a:pt x="215" y="86"/>
                        </a:cubicBezTo>
                        <a:cubicBezTo>
                          <a:pt x="218" y="57"/>
                          <a:pt x="210" y="32"/>
                          <a:pt x="193" y="17"/>
                        </a:cubicBezTo>
                        <a:cubicBezTo>
                          <a:pt x="180" y="6"/>
                          <a:pt x="164" y="0"/>
                          <a:pt x="14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  <p:grpSp>
              <p:nvGrpSpPr>
                <p:cNvPr id="130" name="Group 89"/>
                <p:cNvGrpSpPr>
                  <a:grpSpLocks/>
                </p:cNvGrpSpPr>
                <p:nvPr/>
              </p:nvGrpSpPr>
              <p:grpSpPr bwMode="auto">
                <a:xfrm>
                  <a:off x="914400" y="2092325"/>
                  <a:ext cx="2595563" cy="3467100"/>
                  <a:chOff x="915023" y="2092948"/>
                  <a:chExt cx="2594477" cy="3466184"/>
                </a:xfrm>
                <a:grpFill/>
              </p:grpSpPr>
              <p:sp>
                <p:nvSpPr>
                  <p:cNvPr id="131" name="Freeform 288"/>
                  <p:cNvSpPr>
                    <a:spLocks/>
                  </p:cNvSpPr>
                  <p:nvPr/>
                </p:nvSpPr>
                <p:spPr bwMode="auto">
                  <a:xfrm>
                    <a:off x="1972542" y="3930415"/>
                    <a:ext cx="1442906" cy="945115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2" name="Freeform 290"/>
                  <p:cNvSpPr>
                    <a:spLocks/>
                  </p:cNvSpPr>
                  <p:nvPr/>
                </p:nvSpPr>
                <p:spPr bwMode="auto">
                  <a:xfrm>
                    <a:off x="915023" y="3593202"/>
                    <a:ext cx="1066695" cy="364742"/>
                  </a:xfrm>
                  <a:custGeom>
                    <a:avLst/>
                    <a:gdLst>
                      <a:gd name="T0" fmla="*/ 465 w 465"/>
                      <a:gd name="T1" fmla="*/ 143 h 159"/>
                      <a:gd name="T2" fmla="*/ 4 w 465"/>
                      <a:gd name="T3" fmla="*/ 0 h 159"/>
                      <a:gd name="T4" fmla="*/ 0 w 465"/>
                      <a:gd name="T5" fmla="*/ 12 h 159"/>
                      <a:gd name="T6" fmla="*/ 461 w 465"/>
                      <a:gd name="T7" fmla="*/ 159 h 159"/>
                      <a:gd name="T8" fmla="*/ 465 w 465"/>
                      <a:gd name="T9" fmla="*/ 143 h 15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65" h="159">
                        <a:moveTo>
                          <a:pt x="465" y="143"/>
                        </a:moveTo>
                        <a:lnTo>
                          <a:pt x="4" y="0"/>
                        </a:lnTo>
                        <a:lnTo>
                          <a:pt x="0" y="12"/>
                        </a:lnTo>
                        <a:lnTo>
                          <a:pt x="461" y="159"/>
                        </a:lnTo>
                        <a:lnTo>
                          <a:pt x="465" y="14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3" name="Freeform 292"/>
                  <p:cNvSpPr>
                    <a:spLocks/>
                  </p:cNvSpPr>
                  <p:nvPr/>
                </p:nvSpPr>
                <p:spPr bwMode="auto">
                  <a:xfrm>
                    <a:off x="951726" y="3930415"/>
                    <a:ext cx="1039168" cy="768480"/>
                  </a:xfrm>
                  <a:custGeom>
                    <a:avLst/>
                    <a:gdLst>
                      <a:gd name="T0" fmla="*/ 8 w 453"/>
                      <a:gd name="T1" fmla="*/ 335 h 335"/>
                      <a:gd name="T2" fmla="*/ 453 w 453"/>
                      <a:gd name="T3" fmla="*/ 12 h 335"/>
                      <a:gd name="T4" fmla="*/ 445 w 453"/>
                      <a:gd name="T5" fmla="*/ 0 h 335"/>
                      <a:gd name="T6" fmla="*/ 0 w 453"/>
                      <a:gd name="T7" fmla="*/ 322 h 335"/>
                      <a:gd name="T8" fmla="*/ 8 w 453"/>
                      <a:gd name="T9" fmla="*/ 335 h 33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53" h="335">
                        <a:moveTo>
                          <a:pt x="8" y="335"/>
                        </a:moveTo>
                        <a:lnTo>
                          <a:pt x="453" y="12"/>
                        </a:lnTo>
                        <a:lnTo>
                          <a:pt x="445" y="0"/>
                        </a:lnTo>
                        <a:lnTo>
                          <a:pt x="0" y="322"/>
                        </a:lnTo>
                        <a:lnTo>
                          <a:pt x="8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4" name="Freeform 294"/>
                  <p:cNvSpPr>
                    <a:spLocks/>
                  </p:cNvSpPr>
                  <p:nvPr/>
                </p:nvSpPr>
                <p:spPr bwMode="auto">
                  <a:xfrm>
                    <a:off x="1963366" y="2092948"/>
                    <a:ext cx="628547" cy="1855820"/>
                  </a:xfrm>
                  <a:custGeom>
                    <a:avLst/>
                    <a:gdLst>
                      <a:gd name="T0" fmla="*/ 16 w 274"/>
                      <a:gd name="T1" fmla="*/ 809 h 809"/>
                      <a:gd name="T2" fmla="*/ 274 w 274"/>
                      <a:gd name="T3" fmla="*/ 4 h 809"/>
                      <a:gd name="T4" fmla="*/ 261 w 274"/>
                      <a:gd name="T5" fmla="*/ 0 h 809"/>
                      <a:gd name="T6" fmla="*/ 0 w 274"/>
                      <a:gd name="T7" fmla="*/ 805 h 809"/>
                      <a:gd name="T8" fmla="*/ 16 w 274"/>
                      <a:gd name="T9" fmla="*/ 809 h 8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74" h="809">
                        <a:moveTo>
                          <a:pt x="16" y="809"/>
                        </a:moveTo>
                        <a:lnTo>
                          <a:pt x="274" y="4"/>
                        </a:lnTo>
                        <a:lnTo>
                          <a:pt x="261" y="0"/>
                        </a:lnTo>
                        <a:lnTo>
                          <a:pt x="0" y="805"/>
                        </a:lnTo>
                        <a:lnTo>
                          <a:pt x="16" y="80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5" name="Freeform 296"/>
                  <p:cNvSpPr>
                    <a:spLocks/>
                  </p:cNvSpPr>
                  <p:nvPr/>
                </p:nvSpPr>
                <p:spPr bwMode="auto">
                  <a:xfrm>
                    <a:off x="1972542" y="2758198"/>
                    <a:ext cx="1536958" cy="1199746"/>
                  </a:xfrm>
                  <a:custGeom>
                    <a:avLst/>
                    <a:gdLst>
                      <a:gd name="T0" fmla="*/ 657 w 670"/>
                      <a:gd name="T1" fmla="*/ 0 h 523"/>
                      <a:gd name="T2" fmla="*/ 0 w 670"/>
                      <a:gd name="T3" fmla="*/ 511 h 523"/>
                      <a:gd name="T4" fmla="*/ 8 w 670"/>
                      <a:gd name="T5" fmla="*/ 523 h 523"/>
                      <a:gd name="T6" fmla="*/ 670 w 670"/>
                      <a:gd name="T7" fmla="*/ 12 h 523"/>
                      <a:gd name="T8" fmla="*/ 657 w 670"/>
                      <a:gd name="T9" fmla="*/ 0 h 5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70" h="523">
                        <a:moveTo>
                          <a:pt x="657" y="0"/>
                        </a:moveTo>
                        <a:lnTo>
                          <a:pt x="0" y="511"/>
                        </a:lnTo>
                        <a:lnTo>
                          <a:pt x="8" y="523"/>
                        </a:lnTo>
                        <a:lnTo>
                          <a:pt x="670" y="12"/>
                        </a:lnTo>
                        <a:lnTo>
                          <a:pt x="657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6" name="Freeform 310"/>
                  <p:cNvSpPr>
                    <a:spLocks/>
                  </p:cNvSpPr>
                  <p:nvPr/>
                </p:nvSpPr>
                <p:spPr bwMode="auto">
                  <a:xfrm>
                    <a:off x="1935839" y="3939591"/>
                    <a:ext cx="64231" cy="1619541"/>
                  </a:xfrm>
                  <a:custGeom>
                    <a:avLst/>
                    <a:gdLst>
                      <a:gd name="T0" fmla="*/ 12 w 28"/>
                      <a:gd name="T1" fmla="*/ 0 h 706"/>
                      <a:gd name="T2" fmla="*/ 0 w 28"/>
                      <a:gd name="T3" fmla="*/ 706 h 706"/>
                      <a:gd name="T4" fmla="*/ 12 w 28"/>
                      <a:gd name="T5" fmla="*/ 706 h 706"/>
                      <a:gd name="T6" fmla="*/ 28 w 28"/>
                      <a:gd name="T7" fmla="*/ 0 h 706"/>
                      <a:gd name="T8" fmla="*/ 12 w 28"/>
                      <a:gd name="T9" fmla="*/ 0 h 70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8" h="706">
                        <a:moveTo>
                          <a:pt x="12" y="0"/>
                        </a:moveTo>
                        <a:lnTo>
                          <a:pt x="0" y="706"/>
                        </a:lnTo>
                        <a:lnTo>
                          <a:pt x="12" y="706"/>
                        </a:lnTo>
                        <a:lnTo>
                          <a:pt x="28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7" name="Freeform 288"/>
                  <p:cNvSpPr>
                    <a:spLocks/>
                  </p:cNvSpPr>
                  <p:nvPr/>
                </p:nvSpPr>
                <p:spPr bwMode="auto">
                  <a:xfrm rot="2716992">
                    <a:off x="1222407" y="2842433"/>
                    <a:ext cx="1210800" cy="792839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7" name="Group 20"/>
              <p:cNvGrpSpPr>
                <a:grpSpLocks/>
              </p:cNvGrpSpPr>
              <p:nvPr userDrawn="1"/>
            </p:nvGrpSpPr>
            <p:grpSpPr bwMode="auto">
              <a:xfrm>
                <a:off x="2846332" y="3737373"/>
                <a:ext cx="379188" cy="379174"/>
                <a:chOff x="3825687" y="3454603"/>
                <a:chExt cx="444977" cy="446441"/>
              </a:xfrm>
            </p:grpSpPr>
            <p:sp>
              <p:nvSpPr>
                <p:cNvPr id="127" name="Oval 12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8" name="Group 64"/>
              <p:cNvGrpSpPr>
                <a:grpSpLocks/>
              </p:cNvGrpSpPr>
              <p:nvPr userDrawn="1"/>
            </p:nvGrpSpPr>
            <p:grpSpPr bwMode="auto">
              <a:xfrm>
                <a:off x="2562954" y="2860279"/>
                <a:ext cx="379188" cy="379174"/>
                <a:chOff x="3825687" y="3454603"/>
                <a:chExt cx="444977" cy="446441"/>
              </a:xfrm>
            </p:grpSpPr>
            <p:sp>
              <p:nvSpPr>
                <p:cNvPr id="125" name="Oval 124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9" name="Group 67"/>
              <p:cNvGrpSpPr>
                <a:grpSpLocks/>
              </p:cNvGrpSpPr>
              <p:nvPr userDrawn="1"/>
            </p:nvGrpSpPr>
            <p:grpSpPr bwMode="auto">
              <a:xfrm>
                <a:off x="1785689" y="2381250"/>
                <a:ext cx="379188" cy="379175"/>
                <a:chOff x="3825687" y="3454603"/>
                <a:chExt cx="444977" cy="446441"/>
              </a:xfrm>
            </p:grpSpPr>
            <p:sp>
              <p:nvSpPr>
                <p:cNvPr id="123" name="Oval 12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0" name="Group 70"/>
              <p:cNvGrpSpPr>
                <a:grpSpLocks/>
              </p:cNvGrpSpPr>
              <p:nvPr userDrawn="1"/>
            </p:nvGrpSpPr>
            <p:grpSpPr bwMode="auto">
              <a:xfrm>
                <a:off x="1065100" y="2742883"/>
                <a:ext cx="377837" cy="380524"/>
                <a:chOff x="3825687" y="3454603"/>
                <a:chExt cx="444977" cy="446441"/>
              </a:xfrm>
            </p:grpSpPr>
            <p:sp>
              <p:nvSpPr>
                <p:cNvPr id="121" name="Oval 12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1" name="Group 73"/>
              <p:cNvGrpSpPr>
                <a:grpSpLocks/>
              </p:cNvGrpSpPr>
              <p:nvPr userDrawn="1"/>
            </p:nvGrpSpPr>
            <p:grpSpPr bwMode="auto">
              <a:xfrm>
                <a:off x="474054" y="355116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9" name="Oval 118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2" name="Group 76"/>
              <p:cNvGrpSpPr>
                <a:grpSpLocks/>
              </p:cNvGrpSpPr>
              <p:nvPr userDrawn="1"/>
            </p:nvGrpSpPr>
            <p:grpSpPr bwMode="auto">
              <a:xfrm>
                <a:off x="495644" y="4397216"/>
                <a:ext cx="377837" cy="379175"/>
                <a:chOff x="3825687" y="3454603"/>
                <a:chExt cx="444977" cy="446441"/>
              </a:xfrm>
            </p:grpSpPr>
            <p:sp>
              <p:nvSpPr>
                <p:cNvPr id="117" name="Oval 11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3" name="Group 79"/>
              <p:cNvGrpSpPr>
                <a:grpSpLocks/>
              </p:cNvGrpSpPr>
              <p:nvPr userDrawn="1"/>
            </p:nvGrpSpPr>
            <p:grpSpPr bwMode="auto">
              <a:xfrm>
                <a:off x="2423966" y="456589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3" name="Oval 11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4" name="Group 82"/>
              <p:cNvGrpSpPr>
                <a:grpSpLocks/>
              </p:cNvGrpSpPr>
              <p:nvPr userDrawn="1"/>
            </p:nvGrpSpPr>
            <p:grpSpPr bwMode="auto">
              <a:xfrm>
                <a:off x="1274260" y="5109686"/>
                <a:ext cx="379186" cy="379175"/>
                <a:chOff x="3825687" y="3454603"/>
                <a:chExt cx="444977" cy="446441"/>
              </a:xfrm>
            </p:grpSpPr>
            <p:sp>
              <p:nvSpPr>
                <p:cNvPr id="111" name="Oval 11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5" name="Group 85"/>
              <p:cNvGrpSpPr>
                <a:grpSpLocks/>
              </p:cNvGrpSpPr>
              <p:nvPr/>
            </p:nvGrpSpPr>
            <p:grpSpPr bwMode="auto">
              <a:xfrm>
                <a:off x="1175752" y="3688796"/>
                <a:ext cx="634227" cy="634206"/>
                <a:chOff x="3779912" y="2492896"/>
                <a:chExt cx="444821" cy="444821"/>
              </a:xfrm>
            </p:grpSpPr>
            <p:sp>
              <p:nvSpPr>
                <p:cNvPr id="109" name="Oval 108"/>
                <p:cNvSpPr/>
                <p:nvPr/>
              </p:nvSpPr>
              <p:spPr>
                <a:xfrm>
                  <a:off x="3779912" y="2492896"/>
                  <a:ext cx="444821" cy="4448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83"/>
                <p:cNvSpPr>
                  <a:spLocks/>
                </p:cNvSpPr>
                <p:nvPr/>
              </p:nvSpPr>
              <p:spPr bwMode="auto">
                <a:xfrm>
                  <a:off x="3784041" y="2496231"/>
                  <a:ext cx="436563" cy="438150"/>
                </a:xfrm>
                <a:custGeom>
                  <a:avLst/>
                  <a:gdLst>
                    <a:gd name="T0" fmla="*/ 2147483647 w 305"/>
                    <a:gd name="T1" fmla="*/ 2147483647 h 305"/>
                    <a:gd name="T2" fmla="*/ 2147483647 w 305"/>
                    <a:gd name="T3" fmla="*/ 2147483647 h 305"/>
                    <a:gd name="T4" fmla="*/ 2147483647 w 305"/>
                    <a:gd name="T5" fmla="*/ 2147483647 h 305"/>
                    <a:gd name="T6" fmla="*/ 2147483647 w 305"/>
                    <a:gd name="T7" fmla="*/ 2147483647 h 305"/>
                    <a:gd name="T8" fmla="*/ 2147483647 w 305"/>
                    <a:gd name="T9" fmla="*/ 2147483647 h 3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05" h="305">
                      <a:moveTo>
                        <a:pt x="22" y="112"/>
                      </a:moveTo>
                      <a:cubicBezTo>
                        <a:pt x="45" y="40"/>
                        <a:pt x="121" y="0"/>
                        <a:pt x="193" y="22"/>
                      </a:cubicBezTo>
                      <a:cubicBezTo>
                        <a:pt x="265" y="45"/>
                        <a:pt x="305" y="121"/>
                        <a:pt x="283" y="193"/>
                      </a:cubicBezTo>
                      <a:cubicBezTo>
                        <a:pt x="260" y="265"/>
                        <a:pt x="184" y="305"/>
                        <a:pt x="112" y="283"/>
                      </a:cubicBezTo>
                      <a:cubicBezTo>
                        <a:pt x="40" y="260"/>
                        <a:pt x="0" y="184"/>
                        <a:pt x="22" y="112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</p:grpSp>
        <p:sp>
          <p:nvSpPr>
            <p:cNvPr id="95" name="Rectangle 94"/>
            <p:cNvSpPr/>
            <p:nvPr userDrawn="1"/>
          </p:nvSpPr>
          <p:spPr>
            <a:xfrm rot="18681383">
              <a:off x="678880" y="2054942"/>
              <a:ext cx="5925301" cy="108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1286405" y="3795711"/>
            <a:ext cx="367268" cy="378474"/>
            <a:chOff x="1268525" y="2494901"/>
            <a:chExt cx="762973" cy="786252"/>
          </a:xfrm>
        </p:grpSpPr>
        <p:sp>
          <p:nvSpPr>
            <p:cNvPr id="185" name="Freeform 99"/>
            <p:cNvSpPr>
              <a:spLocks noEditPoints="1"/>
            </p:cNvSpPr>
            <p:nvPr/>
          </p:nvSpPr>
          <p:spPr bwMode="auto">
            <a:xfrm>
              <a:off x="1296778" y="2828635"/>
              <a:ext cx="678199" cy="452518"/>
            </a:xfrm>
            <a:custGeom>
              <a:avLst/>
              <a:gdLst>
                <a:gd name="T0" fmla="*/ 2147483647 w 133"/>
                <a:gd name="T1" fmla="*/ 2147483647 h 88"/>
                <a:gd name="T2" fmla="*/ 2147483647 w 133"/>
                <a:gd name="T3" fmla="*/ 2147483647 h 88"/>
                <a:gd name="T4" fmla="*/ 0 w 133"/>
                <a:gd name="T5" fmla="*/ 2147483647 h 88"/>
                <a:gd name="T6" fmla="*/ 2147483647 w 133"/>
                <a:gd name="T7" fmla="*/ 2147483647 h 88"/>
                <a:gd name="T8" fmla="*/ 2147483647 w 133"/>
                <a:gd name="T9" fmla="*/ 2147483647 h 88"/>
                <a:gd name="T10" fmla="*/ 2147483647 w 133"/>
                <a:gd name="T11" fmla="*/ 2147483647 h 88"/>
                <a:gd name="T12" fmla="*/ 2147483647 w 133"/>
                <a:gd name="T13" fmla="*/ 2147483647 h 88"/>
                <a:gd name="T14" fmla="*/ 2147483647 w 133"/>
                <a:gd name="T15" fmla="*/ 0 h 88"/>
                <a:gd name="T16" fmla="*/ 2147483647 w 133"/>
                <a:gd name="T17" fmla="*/ 0 h 88"/>
                <a:gd name="T18" fmla="*/ 2147483647 w 133"/>
                <a:gd name="T19" fmla="*/ 2147483647 h 88"/>
                <a:gd name="T20" fmla="*/ 2147483647 w 133"/>
                <a:gd name="T21" fmla="*/ 2147483647 h 88"/>
                <a:gd name="T22" fmla="*/ 2147483647 w 133"/>
                <a:gd name="T23" fmla="*/ 2147483647 h 88"/>
                <a:gd name="T24" fmla="*/ 2147483647 w 133"/>
                <a:gd name="T25" fmla="*/ 2147483647 h 88"/>
                <a:gd name="T26" fmla="*/ 2147483647 w 133"/>
                <a:gd name="T27" fmla="*/ 2147483647 h 88"/>
                <a:gd name="T28" fmla="*/ 2147483647 w 133"/>
                <a:gd name="T29" fmla="*/ 2147483647 h 88"/>
                <a:gd name="T30" fmla="*/ 2147483647 w 133"/>
                <a:gd name="T31" fmla="*/ 2147483647 h 88"/>
                <a:gd name="T32" fmla="*/ 2147483647 w 133"/>
                <a:gd name="T33" fmla="*/ 2147483647 h 88"/>
                <a:gd name="T34" fmla="*/ 2147483647 w 133"/>
                <a:gd name="T35" fmla="*/ 2147483647 h 88"/>
                <a:gd name="T36" fmla="*/ 2147483647 w 133"/>
                <a:gd name="T37" fmla="*/ 2147483647 h 88"/>
                <a:gd name="T38" fmla="*/ 2147483647 w 133"/>
                <a:gd name="T39" fmla="*/ 2147483647 h 88"/>
                <a:gd name="T40" fmla="*/ 2147483647 w 133"/>
                <a:gd name="T41" fmla="*/ 2147483647 h 88"/>
                <a:gd name="T42" fmla="*/ 2147483647 w 133"/>
                <a:gd name="T43" fmla="*/ 2147483647 h 88"/>
                <a:gd name="T44" fmla="*/ 2147483647 w 133"/>
                <a:gd name="T45" fmla="*/ 2147483647 h 88"/>
                <a:gd name="T46" fmla="*/ 2147483647 w 133"/>
                <a:gd name="T47" fmla="*/ 2147483647 h 88"/>
                <a:gd name="T48" fmla="*/ 2147483647 w 133"/>
                <a:gd name="T49" fmla="*/ 2147483647 h 88"/>
                <a:gd name="T50" fmla="*/ 2147483647 w 133"/>
                <a:gd name="T51" fmla="*/ 2147483647 h 88"/>
                <a:gd name="T52" fmla="*/ 2147483647 w 133"/>
                <a:gd name="T53" fmla="*/ 2147483647 h 88"/>
                <a:gd name="T54" fmla="*/ 2147483647 w 133"/>
                <a:gd name="T55" fmla="*/ 2147483647 h 88"/>
                <a:gd name="T56" fmla="*/ 2147483647 w 133"/>
                <a:gd name="T57" fmla="*/ 2147483647 h 88"/>
                <a:gd name="T58" fmla="*/ 2147483647 w 133"/>
                <a:gd name="T59" fmla="*/ 2147483647 h 88"/>
                <a:gd name="T60" fmla="*/ 2147483647 w 133"/>
                <a:gd name="T61" fmla="*/ 2147483647 h 88"/>
                <a:gd name="T62" fmla="*/ 2147483647 w 133"/>
                <a:gd name="T63" fmla="*/ 2147483647 h 88"/>
                <a:gd name="T64" fmla="*/ 2147483647 w 133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33" h="88">
                  <a:moveTo>
                    <a:pt x="26" y="77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2" y="19"/>
                  </a:cubicBezTo>
                  <a:cubicBezTo>
                    <a:pt x="3" y="19"/>
                    <a:pt x="5" y="19"/>
                    <a:pt x="6" y="1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8" y="9"/>
                    <a:pt x="129" y="9"/>
                    <a:pt x="130" y="9"/>
                  </a:cubicBezTo>
                  <a:cubicBezTo>
                    <a:pt x="131" y="9"/>
                    <a:pt x="132" y="9"/>
                    <a:pt x="133" y="9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77"/>
                    <a:pt x="3" y="77"/>
                    <a:pt x="3" y="77"/>
                  </a:cubicBezTo>
                  <a:lnTo>
                    <a:pt x="26" y="77"/>
                  </a:lnTo>
                  <a:close/>
                  <a:moveTo>
                    <a:pt x="94" y="77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94" y="77"/>
                  </a:lnTo>
                  <a:close/>
                  <a:moveTo>
                    <a:pt x="80" y="43"/>
                  </a:moveTo>
                  <a:cubicBezTo>
                    <a:pt x="69" y="14"/>
                    <a:pt x="69" y="14"/>
                    <a:pt x="69" y="14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6" y="31"/>
                    <a:pt x="56" y="31"/>
                    <a:pt x="56" y="31"/>
                  </a:cubicBezTo>
                  <a:lnTo>
                    <a:pt x="80" y="43"/>
                  </a:lnTo>
                  <a:close/>
                  <a:moveTo>
                    <a:pt x="54" y="36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83" y="50"/>
                    <a:pt x="83" y="50"/>
                    <a:pt x="83" y="50"/>
                  </a:cubicBezTo>
                  <a:lnTo>
                    <a:pt x="54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6" name="Freeform 100"/>
            <p:cNvSpPr>
              <a:spLocks noEditPoints="1"/>
            </p:cNvSpPr>
            <p:nvPr/>
          </p:nvSpPr>
          <p:spPr bwMode="auto">
            <a:xfrm>
              <a:off x="1844991" y="2494901"/>
              <a:ext cx="186507" cy="373327"/>
            </a:xfrm>
            <a:custGeom>
              <a:avLst/>
              <a:gdLst>
                <a:gd name="T0" fmla="*/ 2147483647 w 37"/>
                <a:gd name="T1" fmla="*/ 2147483647 h 74"/>
                <a:gd name="T2" fmla="*/ 2147483647 w 37"/>
                <a:gd name="T3" fmla="*/ 2147483647 h 74"/>
                <a:gd name="T4" fmla="*/ 2147483647 w 37"/>
                <a:gd name="T5" fmla="*/ 2147483647 h 74"/>
                <a:gd name="T6" fmla="*/ 2147483647 w 37"/>
                <a:gd name="T7" fmla="*/ 2147483647 h 74"/>
                <a:gd name="T8" fmla="*/ 2147483647 w 37"/>
                <a:gd name="T9" fmla="*/ 2147483647 h 74"/>
                <a:gd name="T10" fmla="*/ 2147483647 w 37"/>
                <a:gd name="T11" fmla="*/ 2147483647 h 74"/>
                <a:gd name="T12" fmla="*/ 2147483647 w 37"/>
                <a:gd name="T13" fmla="*/ 2147483647 h 74"/>
                <a:gd name="T14" fmla="*/ 2147483647 w 37"/>
                <a:gd name="T15" fmla="*/ 2147483647 h 74"/>
                <a:gd name="T16" fmla="*/ 2147483647 w 37"/>
                <a:gd name="T17" fmla="*/ 2147483647 h 74"/>
                <a:gd name="T18" fmla="*/ 2147483647 w 37"/>
                <a:gd name="T19" fmla="*/ 2147483647 h 74"/>
                <a:gd name="T20" fmla="*/ 2147483647 w 37"/>
                <a:gd name="T21" fmla="*/ 2147483647 h 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7" h="74">
                  <a:moveTo>
                    <a:pt x="26" y="72"/>
                  </a:moveTo>
                  <a:cubicBezTo>
                    <a:pt x="19" y="74"/>
                    <a:pt x="17" y="70"/>
                    <a:pt x="15" y="65"/>
                  </a:cubicBezTo>
                  <a:cubicBezTo>
                    <a:pt x="11" y="52"/>
                    <a:pt x="6" y="38"/>
                    <a:pt x="2" y="24"/>
                  </a:cubicBezTo>
                  <a:cubicBezTo>
                    <a:pt x="0" y="17"/>
                    <a:pt x="4" y="9"/>
                    <a:pt x="11" y="7"/>
                  </a:cubicBezTo>
                  <a:cubicBezTo>
                    <a:pt x="37" y="0"/>
                    <a:pt x="36" y="42"/>
                    <a:pt x="32" y="59"/>
                  </a:cubicBezTo>
                  <a:cubicBezTo>
                    <a:pt x="31" y="66"/>
                    <a:pt x="28" y="71"/>
                    <a:pt x="26" y="72"/>
                  </a:cubicBezTo>
                  <a:close/>
                  <a:moveTo>
                    <a:pt x="17" y="14"/>
                  </a:moveTo>
                  <a:cubicBezTo>
                    <a:pt x="22" y="14"/>
                    <a:pt x="26" y="18"/>
                    <a:pt x="26" y="23"/>
                  </a:cubicBezTo>
                  <a:cubicBezTo>
                    <a:pt x="26" y="28"/>
                    <a:pt x="22" y="32"/>
                    <a:pt x="17" y="32"/>
                  </a:cubicBezTo>
                  <a:cubicBezTo>
                    <a:pt x="12" y="32"/>
                    <a:pt x="8" y="28"/>
                    <a:pt x="8" y="23"/>
                  </a:cubicBezTo>
                  <a:cubicBezTo>
                    <a:pt x="8" y="18"/>
                    <a:pt x="12" y="14"/>
                    <a:pt x="1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7" name="Freeform 101"/>
            <p:cNvSpPr>
              <a:spLocks/>
            </p:cNvSpPr>
            <p:nvPr/>
          </p:nvSpPr>
          <p:spPr bwMode="auto">
            <a:xfrm>
              <a:off x="1268525" y="2664584"/>
              <a:ext cx="655593" cy="248885"/>
            </a:xfrm>
            <a:custGeom>
              <a:avLst/>
              <a:gdLst>
                <a:gd name="T0" fmla="*/ 2147483647 w 129"/>
                <a:gd name="T1" fmla="*/ 2147483647 h 48"/>
                <a:gd name="T2" fmla="*/ 2147483647 w 129"/>
                <a:gd name="T3" fmla="*/ 2147483647 h 48"/>
                <a:gd name="T4" fmla="*/ 2147483647 w 129"/>
                <a:gd name="T5" fmla="*/ 2147483647 h 48"/>
                <a:gd name="T6" fmla="*/ 2147483647 w 129"/>
                <a:gd name="T7" fmla="*/ 2147483647 h 48"/>
                <a:gd name="T8" fmla="*/ 2147483647 w 129"/>
                <a:gd name="T9" fmla="*/ 2147483647 h 48"/>
                <a:gd name="T10" fmla="*/ 2147483647 w 129"/>
                <a:gd name="T11" fmla="*/ 2147483647 h 48"/>
                <a:gd name="T12" fmla="*/ 2147483647 w 129"/>
                <a:gd name="T13" fmla="*/ 2147483647 h 48"/>
                <a:gd name="T14" fmla="*/ 2147483647 w 129"/>
                <a:gd name="T15" fmla="*/ 2147483647 h 48"/>
                <a:gd name="T16" fmla="*/ 2147483647 w 129"/>
                <a:gd name="T17" fmla="*/ 2147483647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9" h="48">
                  <a:moveTo>
                    <a:pt x="4" y="34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4" y="0"/>
                    <a:pt x="127" y="1"/>
                    <a:pt x="128" y="4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9" y="10"/>
                    <a:pt x="128" y="13"/>
                    <a:pt x="125" y="1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5" y="48"/>
                    <a:pt x="2" y="47"/>
                    <a:pt x="2" y="44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38"/>
                    <a:pt x="2" y="35"/>
                    <a:pt x="4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2020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5" name="Picture 2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9144000" cy="6873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3167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7706326" y="551636"/>
            <a:ext cx="1082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www.cfldcn.com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pic>
        <p:nvPicPr>
          <p:cNvPr id="18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3" y="524459"/>
            <a:ext cx="2759668" cy="69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0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85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6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7.emf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101" y="1182102"/>
            <a:ext cx="8205805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101" y="6"/>
            <a:ext cx="8205805" cy="1081583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68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dirty="0" smtClean="0">
                <a:solidFill>
                  <a:srgbClr val="666666"/>
                </a:solidFill>
              </a:rPr>
              <a:t>Copyright © 201</a:t>
            </a:r>
            <a:r>
              <a:rPr lang="en-US" altLang="zh-CN" dirty="0" smtClean="0">
                <a:solidFill>
                  <a:srgbClr val="666666"/>
                </a:solidFill>
              </a:rPr>
              <a:t>6 </a:t>
            </a:r>
            <a:r>
              <a:rPr lang="en-US" dirty="0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0355" y="1143001"/>
            <a:ext cx="8389643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847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1801" b="1" kern="1200" spc="0" baseline="0" dirty="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7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545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81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908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36968" indent="-13696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37059" indent="-200092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469263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tabLst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674118" indent="-204855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806322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998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271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543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815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45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17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8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6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34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906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7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8" name="think-cell Slide" r:id="rId7" imgW="463" imgH="464" progId="TCLayout.ActiveDocument.1">
                  <p:embed/>
                </p:oleObj>
              </mc:Choice>
              <mc:Fallback>
                <p:oleObj name="think-cell Slide" r:id="rId7" imgW="463" imgH="464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5071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microsoft.com/office/2007/relationships/hdphoto" Target="../media/hdphoto1.wdp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5877" y="424425"/>
            <a:ext cx="6522862" cy="546101"/>
          </a:xfrm>
        </p:spPr>
        <p:txBody>
          <a:bodyPr/>
          <a:lstStyle/>
          <a:p>
            <a:r>
              <a:rPr lang="zh-CN" altLang="en-US" dirty="0" smtClean="0"/>
              <a:t>开发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00"/>
            <a:ext cx="9144000" cy="6552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33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5877" y="424425"/>
            <a:ext cx="6522862" cy="546101"/>
          </a:xfrm>
        </p:spPr>
        <p:txBody>
          <a:bodyPr/>
          <a:lstStyle/>
          <a:p>
            <a:r>
              <a:rPr lang="zh-CN" altLang="en-US" dirty="0" smtClean="0"/>
              <a:t>工作计划</a:t>
            </a:r>
            <a:endParaRPr lang="zh-CN" altLang="en-US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433588"/>
              </p:ext>
            </p:extLst>
          </p:nvPr>
        </p:nvGraphicFramePr>
        <p:xfrm>
          <a:off x="369472" y="861430"/>
          <a:ext cx="8190327" cy="2964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4228">
                  <a:extLst>
                    <a:ext uri="{9D8B030D-6E8A-4147-A177-3AD203B41FA5}">
                      <a16:colId xmlns:a16="http://schemas.microsoft.com/office/drawing/2014/main" xmlns="" val="3101218208"/>
                    </a:ext>
                  </a:extLst>
                </a:gridCol>
                <a:gridCol w="49586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37403"/>
              </a:tblGrid>
              <a:tr h="2804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chemeClr val="bg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阶段</a:t>
                      </a:r>
                      <a:endParaRPr lang="zh-CN" altLang="en-US" sz="1200" dirty="0">
                        <a:solidFill>
                          <a:schemeClr val="bg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chemeClr val="bg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工作事项及交付成果</a:t>
                      </a:r>
                      <a:endParaRPr lang="zh-CN" altLang="en-US" sz="1200" dirty="0">
                        <a:solidFill>
                          <a:schemeClr val="bg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solidFill>
                            <a:schemeClr val="bg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负责人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52">
                <a:tc rowSpan="5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详细设计</a:t>
                      </a:r>
                    </a:p>
                    <a:p>
                      <a:pPr algn="ctr"/>
                      <a:endParaRPr lang="zh-CN" altLang="en-US" sz="1200" dirty="0" smtClean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  <a:p>
                      <a:pPr algn="ctr"/>
                      <a:r>
                        <a:rPr lang="en-US" altLang="zh-CN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4/27~5/11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详细分析方案，展示原型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各组技术负责人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0314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确定指标计算逻辑、口径、数据来源、初步接口方案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各组技术负责人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  <a:p>
                      <a:pPr algn="l" rtl="0" fontAlgn="ctr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36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业务系统改造方案</a:t>
                      </a: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各组技术负责人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4618656"/>
                  </a:ext>
                </a:extLst>
              </a:tr>
              <a:tr h="40036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各系统数据治理方案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各组技术负责人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412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平台整体设计方案</a:t>
                      </a: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李明辉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040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开发</a:t>
                      </a:r>
                    </a:p>
                    <a:p>
                      <a:pPr algn="ctr"/>
                      <a:r>
                        <a:rPr lang="en-US" altLang="zh-CN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5/14~6/15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接口、</a:t>
                      </a:r>
                      <a:r>
                        <a:rPr lang="en-US" altLang="zh-CN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ETL</a:t>
                      </a:r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、报表开发</a:t>
                      </a: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李明辉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412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验证</a:t>
                      </a:r>
                    </a:p>
                    <a:p>
                      <a:pPr algn="ctr"/>
                      <a:r>
                        <a:rPr lang="en-US" altLang="zh-CN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6/18~6/26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dirty="0" smtClean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李明辉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表格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718383"/>
              </p:ext>
            </p:extLst>
          </p:nvPr>
        </p:nvGraphicFramePr>
        <p:xfrm>
          <a:off x="369471" y="4331519"/>
          <a:ext cx="8190328" cy="2398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234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50782"/>
                <a:gridCol w="4267200"/>
              </a:tblGrid>
              <a:tr h="3027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chemeClr val="bg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业务主题</a:t>
                      </a:r>
                      <a:endParaRPr lang="zh-CN" altLang="en-US" sz="1200" dirty="0">
                        <a:solidFill>
                          <a:schemeClr val="bg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solidFill>
                            <a:schemeClr val="bg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负责人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chemeClr val="bg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成员</a:t>
                      </a:r>
                      <a:endParaRPr lang="zh-CN" altLang="en-US" sz="1200" dirty="0">
                        <a:solidFill>
                          <a:schemeClr val="bg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224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整体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李明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唐磊（帆软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24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土地资源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孙毅新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刘兆祥、童程成、国强（帆软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799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经营管控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李赛克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陈建军、李帅、何艳菲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73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dk1"/>
                          </a:solidFill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产发</a:t>
                      </a: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冯志宏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张威</a:t>
                      </a: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（帆软）</a:t>
                      </a:r>
                      <a:endParaRPr lang="en-US" altLang="zh-C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4618656"/>
                  </a:ext>
                </a:extLst>
              </a:tr>
              <a:tr h="345412">
                <a:tc>
                  <a:txBody>
                    <a:bodyPr/>
                    <a:lstStyle/>
                    <a:p>
                      <a:r>
                        <a:rPr lang="zh-CN" altLang="en-US" sz="1200" dirty="0" smtClean="0"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资产</a:t>
                      </a:r>
                      <a:endParaRPr lang="zh-CN" altLang="en-US" sz="1200" dirty="0"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000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杨毅峰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icrosoft YaHei" charset="0"/>
                          <a:ea typeface="Microsoft YaHei" charset="0"/>
                          <a:cs typeface="Microsoft YaHei" charset="0"/>
                        </a:rPr>
                        <a:t>洪晓宇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icrosoft YaHei" charset="0"/>
                        <a:ea typeface="Microsoft YaHei" charset="0"/>
                        <a:cs typeface="Microsoft YaHei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矩形 10"/>
          <p:cNvSpPr/>
          <p:nvPr/>
        </p:nvSpPr>
        <p:spPr>
          <a:xfrm>
            <a:off x="369471" y="3970622"/>
            <a:ext cx="75640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 smtClean="0">
                <a:solidFill>
                  <a:srgbClr val="C00000"/>
                </a:solidFill>
                <a:latin typeface="Microsoft YaHei" charset="0"/>
                <a:ea typeface="Microsoft YaHei" charset="0"/>
                <a:cs typeface="Microsoft YaHei" charset="0"/>
              </a:rPr>
              <a:t>5</a:t>
            </a:r>
            <a:r>
              <a:rPr lang="zh-CN" altLang="en-US" sz="1400" b="1" dirty="0" smtClean="0">
                <a:solidFill>
                  <a:srgbClr val="C00000"/>
                </a:solidFill>
                <a:latin typeface="Microsoft YaHei" charset="0"/>
                <a:ea typeface="Microsoft YaHei" charset="0"/>
                <a:cs typeface="Microsoft YaHei" charset="0"/>
              </a:rPr>
              <a:t>月</a:t>
            </a:r>
            <a:r>
              <a:rPr lang="en-US" altLang="zh-CN" sz="1400" b="1" dirty="0" smtClean="0">
                <a:solidFill>
                  <a:srgbClr val="C00000"/>
                </a:solidFill>
                <a:latin typeface="Microsoft YaHei" charset="0"/>
                <a:ea typeface="Microsoft YaHei" charset="0"/>
                <a:cs typeface="Microsoft YaHei" charset="0"/>
              </a:rPr>
              <a:t>11</a:t>
            </a:r>
            <a:r>
              <a:rPr lang="zh-CN" altLang="en-US" sz="1400" b="1" dirty="0" smtClean="0">
                <a:solidFill>
                  <a:srgbClr val="C00000"/>
                </a:solidFill>
                <a:latin typeface="Microsoft YaHei" charset="0"/>
                <a:ea typeface="Microsoft YaHei" charset="0"/>
                <a:cs typeface="Microsoft YaHei" charset="0"/>
              </a:rPr>
              <a:t>号前完成详细设计</a:t>
            </a:r>
            <a:endParaRPr lang="zh-CN" altLang="en-US" sz="1400" b="1" dirty="0">
              <a:solidFill>
                <a:srgbClr val="C0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4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4"/>
          <p:cNvSpPr/>
          <p:nvPr/>
        </p:nvSpPr>
        <p:spPr>
          <a:xfrm>
            <a:off x="643250" y="4611066"/>
            <a:ext cx="5569435" cy="2210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3083" y="1698378"/>
            <a:ext cx="5508934" cy="264208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740465" y="3173380"/>
            <a:ext cx="5357429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TW" altLang="en-US" sz="1400" dirty="0">
              <a:solidFill>
                <a:schemeClr val="tx1"/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0888" y="433963"/>
            <a:ext cx="6522862" cy="546101"/>
          </a:xfrm>
        </p:spPr>
        <p:txBody>
          <a:bodyPr>
            <a:noAutofit/>
          </a:bodyPr>
          <a:lstStyle/>
          <a:p>
            <a:r>
              <a:rPr lang="zh-CN" altLang="en-US" dirty="0"/>
              <a:t>平台</a:t>
            </a:r>
            <a:r>
              <a:rPr lang="zh-CN" altLang="en-US" dirty="0" smtClean="0"/>
              <a:t>架构设计</a:t>
            </a:r>
            <a:endParaRPr lang="zh-CN" altLang="en-US" sz="2400" dirty="0"/>
          </a:p>
        </p:txBody>
      </p:sp>
      <p:cxnSp>
        <p:nvCxnSpPr>
          <p:cNvPr id="14" name="Straight Connector 22"/>
          <p:cNvCxnSpPr>
            <a:endCxn id="13" idx="1"/>
          </p:cNvCxnSpPr>
          <p:nvPr/>
        </p:nvCxnSpPr>
        <p:spPr>
          <a:xfrm flipV="1">
            <a:off x="6199477" y="3460719"/>
            <a:ext cx="258852" cy="2044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7"/>
          <p:cNvCxnSpPr/>
          <p:nvPr/>
        </p:nvCxnSpPr>
        <p:spPr>
          <a:xfrm>
            <a:off x="5850540" y="1925001"/>
            <a:ext cx="576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5"/>
          <p:cNvSpPr txBox="1"/>
          <p:nvPr/>
        </p:nvSpPr>
        <p:spPr>
          <a:xfrm>
            <a:off x="382445" y="1709011"/>
            <a:ext cx="20137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spcAft>
                <a:spcPts val="277"/>
              </a:spcAft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决策分析平台</a:t>
            </a:r>
            <a:endParaRPr lang="zh-CN" altLang="en-US" sz="14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9" name="Straight Connector 15"/>
          <p:cNvCxnSpPr/>
          <p:nvPr/>
        </p:nvCxnSpPr>
        <p:spPr>
          <a:xfrm>
            <a:off x="6444265" y="1603811"/>
            <a:ext cx="0" cy="1288682"/>
          </a:xfrm>
          <a:prstGeom prst="line">
            <a:avLst/>
          </a:prstGeom>
          <a:ln w="28575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8"/>
          <p:cNvSpPr txBox="1"/>
          <p:nvPr/>
        </p:nvSpPr>
        <p:spPr>
          <a:xfrm>
            <a:off x="6458330" y="1576892"/>
            <a:ext cx="248844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Aft>
                <a:spcPts val="600"/>
              </a:spcAft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zh-CN" altLang="en-US" sz="12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驾驶舱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主，向领导层展现高度提炼的公司经营信息</a:t>
            </a:r>
            <a:endParaRPr lang="en-US" altLang="zh-CN" sz="12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85750" defTabSz="5429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为主、功能为辅：</a:t>
            </a:r>
            <a:endParaRPr lang="en-US" altLang="zh-CN" sz="12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85750" defTabSz="5429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形为主、报表为辅：</a:t>
            </a:r>
            <a:endParaRPr lang="en-US" altLang="zh-CN" sz="12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42925" indent="-285750" defTabSz="5429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2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论为主、分析为辅：</a:t>
            </a:r>
            <a:endParaRPr lang="en-US" altLang="zh-CN" sz="12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2" name="Straight Connector 19"/>
          <p:cNvCxnSpPr/>
          <p:nvPr/>
        </p:nvCxnSpPr>
        <p:spPr>
          <a:xfrm>
            <a:off x="6454131" y="3268137"/>
            <a:ext cx="0" cy="936000"/>
          </a:xfrm>
          <a:prstGeom prst="line">
            <a:avLst/>
          </a:prstGeom>
          <a:ln w="28575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20"/>
          <p:cNvSpPr txBox="1"/>
          <p:nvPr/>
        </p:nvSpPr>
        <p:spPr>
          <a:xfrm>
            <a:off x="6458329" y="3229886"/>
            <a:ext cx="2488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Aft>
                <a:spcPts val="600"/>
              </a:spcAft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不同专业管理领域，后续逐步建设专业管理者的主题分析</a:t>
            </a:r>
            <a:endParaRPr lang="en-US" altLang="zh-CN" sz="12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57925" y="3360289"/>
            <a:ext cx="263780" cy="8168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000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题分析</a:t>
            </a:r>
            <a:endParaRPr lang="en-US" sz="1000" dirty="0" smtClean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" name="Group 10"/>
          <p:cNvGrpSpPr/>
          <p:nvPr/>
        </p:nvGrpSpPr>
        <p:grpSpPr>
          <a:xfrm>
            <a:off x="710789" y="4676861"/>
            <a:ext cx="5471228" cy="2046101"/>
            <a:chOff x="1537181" y="5156175"/>
            <a:chExt cx="6142649" cy="1503775"/>
          </a:xfrm>
        </p:grpSpPr>
        <p:sp>
          <p:nvSpPr>
            <p:cNvPr id="60" name="矩形 59"/>
            <p:cNvSpPr/>
            <p:nvPr/>
          </p:nvSpPr>
          <p:spPr>
            <a:xfrm>
              <a:off x="2065000" y="5169667"/>
              <a:ext cx="5052233" cy="9681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流程图: 磁盘 60"/>
            <p:cNvSpPr/>
            <p:nvPr/>
          </p:nvSpPr>
          <p:spPr>
            <a:xfrm>
              <a:off x="2100816" y="5223844"/>
              <a:ext cx="4937245" cy="22852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zh-CN" altLang="en-US" sz="9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仓库</a:t>
              </a:r>
              <a:endParaRPr 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流程图: 磁盘 61"/>
            <p:cNvSpPr/>
            <p:nvPr/>
          </p:nvSpPr>
          <p:spPr>
            <a:xfrm>
              <a:off x="2612079" y="5548183"/>
              <a:ext cx="2894151" cy="239115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操作型数据存储（</a:t>
              </a:r>
              <a:r>
                <a:rPr lang="en-US" altLang="zh-CN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DS)</a:t>
              </a:r>
              <a:endParaRPr 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矩形 62"/>
            <p:cNvSpPr/>
            <p:nvPr/>
          </p:nvSpPr>
          <p:spPr>
            <a:xfrm>
              <a:off x="3114322" y="5889207"/>
              <a:ext cx="2217451" cy="18723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抽取、转换、加载（</a:t>
              </a:r>
              <a:r>
                <a:rPr lang="en-US" altLang="zh-CN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TL)</a:t>
              </a:r>
              <a:endParaRPr 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矩形 63"/>
            <p:cNvSpPr/>
            <p:nvPr/>
          </p:nvSpPr>
          <p:spPr>
            <a:xfrm>
              <a:off x="5580206" y="5826034"/>
              <a:ext cx="1044176" cy="21682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3600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数据管理</a:t>
              </a:r>
              <a:endParaRPr 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1537181" y="5169667"/>
              <a:ext cx="485566" cy="149028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7165476" y="5169668"/>
              <a:ext cx="514354" cy="149028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矩形 66"/>
            <p:cNvSpPr/>
            <p:nvPr/>
          </p:nvSpPr>
          <p:spPr>
            <a:xfrm>
              <a:off x="1590101" y="5491266"/>
              <a:ext cx="379728" cy="3564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数据标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1590101" y="5889207"/>
              <a:ext cx="379728" cy="3564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有数据标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矩形 68"/>
            <p:cNvSpPr/>
            <p:nvPr/>
          </p:nvSpPr>
          <p:spPr>
            <a:xfrm>
              <a:off x="1590101" y="6287147"/>
              <a:ext cx="379728" cy="3564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础数据标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矩形 69"/>
            <p:cNvSpPr/>
            <p:nvPr/>
          </p:nvSpPr>
          <p:spPr>
            <a:xfrm>
              <a:off x="7194816" y="5491266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数据</a:t>
              </a:r>
              <a:endParaRPr lang="en-US" altLang="zh-CN" sz="900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900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7194816" y="5785361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质量管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7194816" y="6079456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安全管理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矩形 72"/>
            <p:cNvSpPr/>
            <p:nvPr/>
          </p:nvSpPr>
          <p:spPr>
            <a:xfrm>
              <a:off x="7194816" y="6373551"/>
              <a:ext cx="455673" cy="27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生命周期</a:t>
              </a:r>
              <a:endParaRPr lang="en-US" sz="900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矩形 73"/>
            <p:cNvSpPr/>
            <p:nvPr/>
          </p:nvSpPr>
          <p:spPr>
            <a:xfrm>
              <a:off x="2100817" y="6206790"/>
              <a:ext cx="4235741" cy="4531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矩形 74"/>
            <p:cNvSpPr/>
            <p:nvPr/>
          </p:nvSpPr>
          <p:spPr>
            <a:xfrm>
              <a:off x="5161722" y="6229969"/>
              <a:ext cx="1027140" cy="406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运营类系统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zh-CN" altLang="en-US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土地资源、项目管理</a:t>
              </a:r>
              <a:r>
                <a:rPr lang="en-US" altLang="zh-CN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)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矩形 75"/>
            <p:cNvSpPr/>
            <p:nvPr/>
          </p:nvSpPr>
          <p:spPr>
            <a:xfrm>
              <a:off x="3913153" y="6229969"/>
              <a:ext cx="1027140" cy="406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职能管理类系统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人力、财务</a:t>
              </a:r>
              <a:r>
                <a:rPr lang="zh-CN" altLang="en-US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en-US" altLang="zh-CN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A</a:t>
              </a:r>
              <a:r>
                <a:rPr lang="zh-CN" altLang="en-US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成本、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采购</a:t>
              </a:r>
              <a:r>
                <a:rPr lang="en-US" altLang="zh-CN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)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2677618" y="6230713"/>
              <a:ext cx="1027140" cy="4053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9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战略管控类系统</a:t>
              </a:r>
              <a:r>
                <a:rPr lang="zh-CN" altLang="en-US" sz="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运营管控、</a:t>
              </a:r>
              <a:r>
                <a:rPr lang="en-US" altLang="zh-CN" sz="8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OPK…)</a:t>
              </a:r>
              <a:endPara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矩形 77"/>
            <p:cNvSpPr/>
            <p:nvPr/>
          </p:nvSpPr>
          <p:spPr>
            <a:xfrm>
              <a:off x="2087681" y="6254116"/>
              <a:ext cx="539279" cy="3585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源系统</a:t>
              </a:r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矩形 78"/>
            <p:cNvSpPr/>
            <p:nvPr/>
          </p:nvSpPr>
          <p:spPr>
            <a:xfrm>
              <a:off x="2075350" y="5472093"/>
              <a:ext cx="563943" cy="35850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000" dirty="0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0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000" dirty="0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层</a:t>
              </a:r>
              <a:endParaRPr lang="en-US" sz="10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1554690" y="5163910"/>
              <a:ext cx="450549" cy="35640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100" b="1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100" b="1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</a:t>
              </a:r>
              <a:endParaRPr lang="en-US" sz="11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矩形 80"/>
            <p:cNvSpPr/>
            <p:nvPr/>
          </p:nvSpPr>
          <p:spPr>
            <a:xfrm>
              <a:off x="7194816" y="5156175"/>
              <a:ext cx="455673" cy="35640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r>
                <a:rPr lang="zh-CN" altLang="en-US" sz="1100" b="1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457200"/>
              <a:r>
                <a:rPr lang="zh-CN" altLang="en-US" sz="1100" b="1" dirty="0" smtClean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</a:t>
              </a:r>
              <a:endParaRPr lang="en-US" sz="11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下箭头 81"/>
            <p:cNvSpPr/>
            <p:nvPr/>
          </p:nvSpPr>
          <p:spPr>
            <a:xfrm>
              <a:off x="2844164" y="5781078"/>
              <a:ext cx="157975" cy="425712"/>
            </a:xfrm>
            <a:prstGeom prst="down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上箭头 82"/>
            <p:cNvSpPr/>
            <p:nvPr/>
          </p:nvSpPr>
          <p:spPr>
            <a:xfrm>
              <a:off x="3362755" y="5460627"/>
              <a:ext cx="178472" cy="91680"/>
            </a:xfrm>
            <a:prstGeom prst="up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上箭头 83"/>
            <p:cNvSpPr/>
            <p:nvPr/>
          </p:nvSpPr>
          <p:spPr>
            <a:xfrm>
              <a:off x="4612041" y="6071863"/>
              <a:ext cx="160754" cy="136772"/>
            </a:xfrm>
            <a:prstGeom prst="up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左箭头 84"/>
            <p:cNvSpPr/>
            <p:nvPr/>
          </p:nvSpPr>
          <p:spPr>
            <a:xfrm>
              <a:off x="5331773" y="5900527"/>
              <a:ext cx="248434" cy="169200"/>
            </a:xfrm>
            <a:prstGeom prst="left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上下箭头 85"/>
            <p:cNvSpPr/>
            <p:nvPr/>
          </p:nvSpPr>
          <p:spPr>
            <a:xfrm>
              <a:off x="6031652" y="6025257"/>
              <a:ext cx="178472" cy="228859"/>
            </a:xfrm>
            <a:prstGeom prst="upDown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文本框 89"/>
            <p:cNvSpPr txBox="1"/>
            <p:nvPr/>
          </p:nvSpPr>
          <p:spPr>
            <a:xfrm>
              <a:off x="2179426" y="5826035"/>
              <a:ext cx="628008" cy="217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457200"/>
              <a:r>
                <a:rPr lang="zh-CN" alt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准实时</a:t>
              </a:r>
              <a:endParaRPr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r" defTabSz="457200"/>
              <a:r>
                <a:rPr lang="zh-CN" alt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共享</a:t>
              </a:r>
              <a:endPara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文本框 91"/>
            <p:cNvSpPr txBox="1"/>
            <p:nvPr/>
          </p:nvSpPr>
          <p:spPr>
            <a:xfrm>
              <a:off x="3397065" y="5782700"/>
              <a:ext cx="867402" cy="1089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zh-CN" alt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化数据</a:t>
              </a:r>
              <a:endParaRPr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上箭头 88"/>
            <p:cNvSpPr/>
            <p:nvPr/>
          </p:nvSpPr>
          <p:spPr>
            <a:xfrm>
              <a:off x="4086488" y="5794672"/>
              <a:ext cx="177979" cy="103699"/>
            </a:xfrm>
            <a:prstGeom prst="upArrow">
              <a:avLst/>
            </a:prstGeom>
            <a:solidFill>
              <a:srgbClr val="66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200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" name="Rounded Rectangle 98"/>
          <p:cNvSpPr/>
          <p:nvPr/>
        </p:nvSpPr>
        <p:spPr>
          <a:xfrm>
            <a:off x="2664989" y="3216251"/>
            <a:ext cx="835618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资源</a:t>
            </a:r>
            <a:endParaRPr lang="en-US" sz="8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ounded Rectangle 99"/>
          <p:cNvSpPr/>
          <p:nvPr/>
        </p:nvSpPr>
        <p:spPr>
          <a:xfrm>
            <a:off x="3554381" y="3216251"/>
            <a:ext cx="787464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管控</a:t>
            </a:r>
            <a:endParaRPr lang="en-US" sz="8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Rounded Rectangle 100"/>
          <p:cNvSpPr/>
          <p:nvPr/>
        </p:nvSpPr>
        <p:spPr>
          <a:xfrm>
            <a:off x="4395620" y="3216251"/>
            <a:ext cx="787464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资源</a:t>
            </a:r>
            <a:endParaRPr lang="en-US" sz="8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Box 102"/>
          <p:cNvSpPr txBox="1"/>
          <p:nvPr/>
        </p:nvSpPr>
        <p:spPr>
          <a:xfrm>
            <a:off x="5357416" y="3631162"/>
            <a:ext cx="2916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altLang="zh-CN" sz="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.</a:t>
            </a:r>
          </a:p>
        </p:txBody>
      </p:sp>
      <p:grpSp>
        <p:nvGrpSpPr>
          <p:cNvPr id="24" name="Group 110"/>
          <p:cNvGrpSpPr/>
          <p:nvPr/>
        </p:nvGrpSpPr>
        <p:grpSpPr>
          <a:xfrm>
            <a:off x="4438180" y="3464199"/>
            <a:ext cx="701159" cy="704589"/>
            <a:chOff x="3350290" y="3020614"/>
            <a:chExt cx="865469" cy="747956"/>
          </a:xfrm>
        </p:grpSpPr>
        <p:sp>
          <p:nvSpPr>
            <p:cNvPr id="56" name="Rectangle 111"/>
            <p:cNvSpPr/>
            <p:nvPr/>
          </p:nvSpPr>
          <p:spPr>
            <a:xfrm>
              <a:off x="3351758" y="3020614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组织发展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Rectangle 112"/>
            <p:cNvSpPr/>
            <p:nvPr/>
          </p:nvSpPr>
          <p:spPr>
            <a:xfrm>
              <a:off x="3351758" y="3243192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常青藤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Rectangle 113"/>
            <p:cNvSpPr/>
            <p:nvPr/>
          </p:nvSpPr>
          <p:spPr>
            <a:xfrm>
              <a:off x="3350290" y="3465771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离职预警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TextBox 114"/>
            <p:cNvSpPr txBox="1"/>
            <p:nvPr/>
          </p:nvSpPr>
          <p:spPr>
            <a:xfrm>
              <a:off x="3603758" y="3539866"/>
              <a:ext cx="359998" cy="2287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grpSp>
        <p:nvGrpSpPr>
          <p:cNvPr id="25" name="Group 115"/>
          <p:cNvGrpSpPr/>
          <p:nvPr/>
        </p:nvGrpSpPr>
        <p:grpSpPr>
          <a:xfrm>
            <a:off x="2731313" y="3464199"/>
            <a:ext cx="699968" cy="712426"/>
            <a:chOff x="3316848" y="3020614"/>
            <a:chExt cx="864000" cy="756275"/>
          </a:xfrm>
        </p:grpSpPr>
        <p:sp>
          <p:nvSpPr>
            <p:cNvPr id="52" name="Rectangle 116"/>
            <p:cNvSpPr/>
            <p:nvPr/>
          </p:nvSpPr>
          <p:spPr>
            <a:xfrm>
              <a:off x="3316848" y="3020614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标批复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Rectangle 117"/>
            <p:cNvSpPr/>
            <p:nvPr/>
          </p:nvSpPr>
          <p:spPr>
            <a:xfrm>
              <a:off x="3316848" y="3243192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增有效房源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Rectangle 118"/>
            <p:cNvSpPr/>
            <p:nvPr/>
          </p:nvSpPr>
          <p:spPr>
            <a:xfrm>
              <a:off x="3316848" y="3465771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配套取地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TextBox 119"/>
            <p:cNvSpPr txBox="1"/>
            <p:nvPr/>
          </p:nvSpPr>
          <p:spPr>
            <a:xfrm>
              <a:off x="3639575" y="3548185"/>
              <a:ext cx="360000" cy="22870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grpSp>
        <p:nvGrpSpPr>
          <p:cNvPr id="26" name="Group 120"/>
          <p:cNvGrpSpPr/>
          <p:nvPr/>
        </p:nvGrpSpPr>
        <p:grpSpPr>
          <a:xfrm>
            <a:off x="3599481" y="3464199"/>
            <a:ext cx="699968" cy="712426"/>
            <a:chOff x="3351756" y="3020614"/>
            <a:chExt cx="864000" cy="756275"/>
          </a:xfrm>
        </p:grpSpPr>
        <p:sp>
          <p:nvSpPr>
            <p:cNvPr id="48" name="Rectangle 121"/>
            <p:cNvSpPr/>
            <p:nvPr/>
          </p:nvSpPr>
          <p:spPr>
            <a:xfrm>
              <a:off x="3351756" y="3020614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签约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Rectangle 122"/>
            <p:cNvSpPr/>
            <p:nvPr/>
          </p:nvSpPr>
          <p:spPr>
            <a:xfrm>
              <a:off x="3351756" y="3243192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回款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Rectangle 123"/>
            <p:cNvSpPr/>
            <p:nvPr/>
          </p:nvSpPr>
          <p:spPr>
            <a:xfrm>
              <a:off x="3351756" y="3465771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利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TextBox 124"/>
            <p:cNvSpPr txBox="1"/>
            <p:nvPr/>
          </p:nvSpPr>
          <p:spPr>
            <a:xfrm>
              <a:off x="3686333" y="3548185"/>
              <a:ext cx="360000" cy="22870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sp>
        <p:nvSpPr>
          <p:cNvPr id="27" name="Up Arrow 95"/>
          <p:cNvSpPr/>
          <p:nvPr/>
        </p:nvSpPr>
        <p:spPr>
          <a:xfrm>
            <a:off x="2565100" y="4368933"/>
            <a:ext cx="1701831" cy="2880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5088001" y="6109899"/>
            <a:ext cx="553445" cy="60010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303474" y="5036969"/>
            <a:ext cx="223876" cy="8459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3600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报</a:t>
            </a: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endParaRPr 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上箭头 31"/>
          <p:cNvSpPr/>
          <p:nvPr/>
        </p:nvSpPr>
        <p:spPr>
          <a:xfrm>
            <a:off x="5347010" y="5882962"/>
            <a:ext cx="136805" cy="226937"/>
          </a:xfrm>
          <a:prstGeom prst="upArrow">
            <a:avLst/>
          </a:prstGeom>
          <a:solidFill>
            <a:srgbClr val="6666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左箭头 32"/>
          <p:cNvSpPr/>
          <p:nvPr/>
        </p:nvSpPr>
        <p:spPr>
          <a:xfrm>
            <a:off x="4244330" y="5265495"/>
            <a:ext cx="1029717" cy="238539"/>
          </a:xfrm>
          <a:prstGeom prst="leftArrow">
            <a:avLst/>
          </a:prstGeom>
          <a:solidFill>
            <a:srgbClr val="6666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endParaRPr 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131577" y="6178440"/>
            <a:ext cx="478819" cy="4278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补录</a:t>
            </a:r>
            <a:r>
              <a:rPr lang="en-US" altLang="zh-CN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Rounded Rectangle 98"/>
          <p:cNvSpPr/>
          <p:nvPr/>
        </p:nvSpPr>
        <p:spPr>
          <a:xfrm>
            <a:off x="1748076" y="3216251"/>
            <a:ext cx="869758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发展</a:t>
            </a:r>
            <a:endParaRPr lang="en-US" sz="8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6" name="Group 115"/>
          <p:cNvGrpSpPr/>
          <p:nvPr/>
        </p:nvGrpSpPr>
        <p:grpSpPr>
          <a:xfrm>
            <a:off x="1787650" y="3481158"/>
            <a:ext cx="825755" cy="664988"/>
            <a:chOff x="3243485" y="3020614"/>
            <a:chExt cx="1019264" cy="705918"/>
          </a:xfrm>
        </p:grpSpPr>
        <p:sp>
          <p:nvSpPr>
            <p:cNvPr id="44" name="Rectangle 116"/>
            <p:cNvSpPr/>
            <p:nvPr/>
          </p:nvSpPr>
          <p:spPr>
            <a:xfrm>
              <a:off x="3305788" y="3020614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签约落地投</a:t>
              </a:r>
              <a:endPara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Rectangle 117"/>
            <p:cNvSpPr/>
            <p:nvPr/>
          </p:nvSpPr>
          <p:spPr>
            <a:xfrm>
              <a:off x="3305630" y="3241157"/>
              <a:ext cx="864000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模类龙头目</a:t>
              </a:r>
              <a:endPara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Rectangle 118"/>
            <p:cNvSpPr/>
            <p:nvPr/>
          </p:nvSpPr>
          <p:spPr>
            <a:xfrm>
              <a:off x="3243485" y="3456110"/>
              <a:ext cx="1019264" cy="1384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类龙头项目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7" name="TextBox 119"/>
            <p:cNvSpPr txBox="1"/>
            <p:nvPr/>
          </p:nvSpPr>
          <p:spPr>
            <a:xfrm>
              <a:off x="3652093" y="3497827"/>
              <a:ext cx="360000" cy="22870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sp>
        <p:nvSpPr>
          <p:cNvPr id="38" name="Rounded Rectangle 100"/>
          <p:cNvSpPr/>
          <p:nvPr/>
        </p:nvSpPr>
        <p:spPr>
          <a:xfrm>
            <a:off x="5237984" y="3211626"/>
            <a:ext cx="787464" cy="975159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en-US" sz="8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9" name="Group 110"/>
          <p:cNvGrpSpPr/>
          <p:nvPr/>
        </p:nvGrpSpPr>
        <p:grpSpPr>
          <a:xfrm>
            <a:off x="5281733" y="3459574"/>
            <a:ext cx="703195" cy="704589"/>
            <a:chOff x="3351758" y="3020614"/>
            <a:chExt cx="867983" cy="747956"/>
          </a:xfrm>
        </p:grpSpPr>
        <p:sp>
          <p:nvSpPr>
            <p:cNvPr id="40" name="Rectangle 111"/>
            <p:cNvSpPr/>
            <p:nvPr/>
          </p:nvSpPr>
          <p:spPr>
            <a:xfrm>
              <a:off x="3351758" y="3020614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情况</a:t>
              </a:r>
              <a:endPara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Rectangle 112"/>
            <p:cNvSpPr/>
            <p:nvPr/>
          </p:nvSpPr>
          <p:spPr>
            <a:xfrm>
              <a:off x="3351758" y="3243192"/>
              <a:ext cx="864001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帐实相符率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Rectangle 113"/>
            <p:cNvSpPr/>
            <p:nvPr/>
          </p:nvSpPr>
          <p:spPr>
            <a:xfrm>
              <a:off x="3355742" y="3464374"/>
              <a:ext cx="863999" cy="1772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盘点完成率</a:t>
              </a:r>
              <a:endParaRPr 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TextBox 114"/>
            <p:cNvSpPr txBox="1"/>
            <p:nvPr/>
          </p:nvSpPr>
          <p:spPr>
            <a:xfrm>
              <a:off x="3603758" y="3539866"/>
              <a:ext cx="359998" cy="2287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200"/>
              <a:r>
                <a:rPr lang="en-US" altLang="zh-CN" sz="8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</p:grpSp>
      <p:sp>
        <p:nvSpPr>
          <p:cNvPr id="90" name="圓柱 49"/>
          <p:cNvSpPr/>
          <p:nvPr/>
        </p:nvSpPr>
        <p:spPr>
          <a:xfrm>
            <a:off x="4255078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力资源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圓柱 49"/>
          <p:cNvSpPr/>
          <p:nvPr/>
        </p:nvSpPr>
        <p:spPr>
          <a:xfrm>
            <a:off x="4932302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产管理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圓柱 49"/>
          <p:cNvSpPr/>
          <p:nvPr/>
        </p:nvSpPr>
        <p:spPr>
          <a:xfrm>
            <a:off x="3577855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土地资源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圓柱 49"/>
          <p:cNvSpPr/>
          <p:nvPr/>
        </p:nvSpPr>
        <p:spPr>
          <a:xfrm>
            <a:off x="2223409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管控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圓柱 49"/>
          <p:cNvSpPr/>
          <p:nvPr/>
        </p:nvSpPr>
        <p:spPr>
          <a:xfrm>
            <a:off x="2900632" y="4831978"/>
            <a:ext cx="648000" cy="216000"/>
          </a:xfrm>
          <a:prstGeom prst="can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发展</a:t>
            </a:r>
            <a:endParaRPr lang="en-US" altLang="zh-CN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矩形 95"/>
          <p:cNvSpPr/>
          <p:nvPr/>
        </p:nvSpPr>
        <p:spPr>
          <a:xfrm>
            <a:off x="740465" y="2370290"/>
            <a:ext cx="5357429" cy="7610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TW" altLang="en-US" sz="1400" dirty="0">
              <a:solidFill>
                <a:schemeClr val="tx1"/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379471" y="4466980"/>
            <a:ext cx="263780" cy="125810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400" b="1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平台</a:t>
            </a:r>
            <a:endParaRPr lang="en-US" sz="1400" b="1" dirty="0" smtClean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760962" y="2414747"/>
            <a:ext cx="263780" cy="8168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000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应用</a:t>
            </a:r>
            <a:endParaRPr lang="en-US" sz="1000" dirty="0" smtClean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7" name="Picture 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325" y="2595682"/>
            <a:ext cx="916913" cy="507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TextBox 93"/>
          <p:cNvSpPr txBox="1"/>
          <p:nvPr/>
        </p:nvSpPr>
        <p:spPr>
          <a:xfrm>
            <a:off x="1716964" y="2370290"/>
            <a:ext cx="1196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 smtClean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局战略驾驶舱</a:t>
            </a:r>
            <a:endParaRPr lang="en-US" altLang="zh-CN" sz="1000" dirty="0" smtClean="0">
              <a:solidFill>
                <a:srgbClr val="B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TextBox 93"/>
          <p:cNvSpPr txBox="1"/>
          <p:nvPr/>
        </p:nvSpPr>
        <p:spPr>
          <a:xfrm>
            <a:off x="2851540" y="2373564"/>
            <a:ext cx="1196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 smtClean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题管理看板</a:t>
            </a:r>
            <a:endParaRPr lang="en-US" altLang="zh-CN" sz="1000" dirty="0" smtClean="0">
              <a:solidFill>
                <a:srgbClr val="B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3" name="图片 10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1408" y="2596635"/>
            <a:ext cx="844897" cy="460945"/>
          </a:xfrm>
          <a:prstGeom prst="rect">
            <a:avLst/>
          </a:prstGeom>
        </p:spPr>
      </p:pic>
      <p:sp>
        <p:nvSpPr>
          <p:cNvPr id="104" name="TextBox 93"/>
          <p:cNvSpPr txBox="1"/>
          <p:nvPr/>
        </p:nvSpPr>
        <p:spPr>
          <a:xfrm>
            <a:off x="5119857" y="2364889"/>
            <a:ext cx="1196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常业务报表</a:t>
            </a:r>
            <a:endParaRPr lang="en-US" altLang="zh-CN" sz="100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5" name="图片 10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6459" y="2595682"/>
            <a:ext cx="901850" cy="479667"/>
          </a:xfrm>
          <a:prstGeom prst="rect">
            <a:avLst/>
          </a:prstGeom>
        </p:spPr>
      </p:pic>
      <p:sp>
        <p:nvSpPr>
          <p:cNvPr id="106" name="TextBox 94"/>
          <p:cNvSpPr txBox="1"/>
          <p:nvPr/>
        </p:nvSpPr>
        <p:spPr>
          <a:xfrm>
            <a:off x="3956459" y="2352105"/>
            <a:ext cx="8602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zh-CN" altLang="en-US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</a:t>
            </a:r>
            <a:r>
              <a:rPr lang="zh-CN" altLang="en-US" sz="1000" dirty="0" smtClean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endParaRPr lang="en-US" altLang="zh-CN" sz="1000" dirty="0" smtClean="0">
              <a:solidFill>
                <a:srgbClr val="B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矩形 108"/>
          <p:cNvSpPr/>
          <p:nvPr/>
        </p:nvSpPr>
        <p:spPr>
          <a:xfrm>
            <a:off x="740465" y="1772496"/>
            <a:ext cx="5357429" cy="56451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zh-TW" altLang="en-US" sz="1400" dirty="0">
              <a:solidFill>
                <a:schemeClr val="tx1"/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pic>
        <p:nvPicPr>
          <p:cNvPr id="107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7521" y="1816441"/>
            <a:ext cx="286172" cy="48822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08" name="Picture 34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455" b="97727" l="2273" r="89773">
                        <a14:foregroundMark x1="58807" y1="7727" x2="58807" y2="7727"/>
                        <a14:foregroundMark x1="86648" y1="60909" x2="86648" y2="60909"/>
                        <a14:foregroundMark x1="85511" y1="54545" x2="85511" y2="54545"/>
                        <a14:foregroundMark x1="84659" y1="48182" x2="84659" y2="48182"/>
                        <a14:foregroundMark x1="88352" y1="20455" x2="88352" y2="20455"/>
                        <a14:backgroundMark x1="6250" y1="24091" x2="6250" y2="24091"/>
                        <a14:backgroundMark x1="4830" y1="96364" x2="4830" y2="96364"/>
                        <a14:backgroundMark x1="94602" y1="91364" x2="94602" y2="913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076" y="1803395"/>
            <a:ext cx="856401" cy="526079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110" name="矩形 109"/>
          <p:cNvSpPr/>
          <p:nvPr/>
        </p:nvSpPr>
        <p:spPr>
          <a:xfrm>
            <a:off x="754439" y="1646327"/>
            <a:ext cx="263780" cy="8168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zh-CN" altLang="en-US" sz="1000" dirty="0" smtClean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访问展现</a:t>
            </a:r>
            <a:endParaRPr lang="en-US" sz="1000" dirty="0" smtClean="0">
              <a:solidFill>
                <a:srgbClr val="89887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7" name="标题 1"/>
          <p:cNvSpPr txBox="1">
            <a:spLocks/>
          </p:cNvSpPr>
          <p:nvPr/>
        </p:nvSpPr>
        <p:spPr>
          <a:xfrm>
            <a:off x="643250" y="943784"/>
            <a:ext cx="8212853" cy="367836"/>
          </a:xfrm>
          <a:prstGeom prst="rect">
            <a:avLst/>
          </a:prstGeom>
          <a:solidFill>
            <a:srgbClr val="C00000"/>
          </a:solidFill>
        </p:spPr>
        <p:txBody>
          <a:bodyPr anchor="ctr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algn="ctr"/>
            <a:r>
              <a:rPr lang="zh-CN" altLang="en-US" sz="1400" b="0" dirty="0" smtClean="0">
                <a:solidFill>
                  <a:schemeClr val="bg1"/>
                </a:solidFill>
              </a:rPr>
              <a:t>面向公司高管，聚焦关键业务维度，</a:t>
            </a:r>
            <a:r>
              <a:rPr lang="zh-CN" altLang="en-US" sz="1400" b="0" dirty="0">
                <a:solidFill>
                  <a:schemeClr val="bg1"/>
                </a:solidFill>
              </a:rPr>
              <a:t>支持</a:t>
            </a:r>
            <a:r>
              <a:rPr lang="zh-CN" altLang="en-US" sz="1400" b="0" dirty="0" smtClean="0">
                <a:solidFill>
                  <a:schemeClr val="bg1"/>
                </a:solidFill>
              </a:rPr>
              <a:t>经营决策分析</a:t>
            </a:r>
            <a:endParaRPr lang="zh-CN" altLang="en-US" sz="1400" b="0" dirty="0">
              <a:solidFill>
                <a:schemeClr val="bg1"/>
              </a:solidFill>
            </a:endParaRPr>
          </a:p>
        </p:txBody>
      </p:sp>
      <p:cxnSp>
        <p:nvCxnSpPr>
          <p:cNvPr id="118" name="Straight Connector 22"/>
          <p:cNvCxnSpPr>
            <a:endCxn id="120" idx="1"/>
          </p:cNvCxnSpPr>
          <p:nvPr/>
        </p:nvCxnSpPr>
        <p:spPr>
          <a:xfrm>
            <a:off x="6200082" y="5154650"/>
            <a:ext cx="258852" cy="241171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9"/>
          <p:cNvCxnSpPr/>
          <p:nvPr/>
        </p:nvCxnSpPr>
        <p:spPr>
          <a:xfrm>
            <a:off x="6454736" y="4941629"/>
            <a:ext cx="0" cy="936000"/>
          </a:xfrm>
          <a:prstGeom prst="line">
            <a:avLst/>
          </a:prstGeom>
          <a:ln w="28575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0" name="TextBox 20"/>
          <p:cNvSpPr txBox="1"/>
          <p:nvPr/>
        </p:nvSpPr>
        <p:spPr>
          <a:xfrm>
            <a:off x="6458934" y="4903378"/>
            <a:ext cx="264919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zh-CN" sz="12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自上而下，优先实现数据应用</a:t>
            </a:r>
          </a:p>
          <a:p>
            <a:pPr>
              <a:spcAft>
                <a:spcPts val="600"/>
              </a:spcAft>
            </a:pPr>
            <a:r>
              <a:rPr lang="en-US" altLang="zh-CN" sz="12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逐步完善基础数据</a:t>
            </a:r>
            <a:endParaRPr lang="zh-CN" altLang="en-US" sz="1200" b="1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Aft>
                <a:spcPts val="600"/>
              </a:spcAft>
            </a:pPr>
            <a:r>
              <a:rPr lang="en-US" altLang="zh-CN" sz="12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建立健全数据管控体系及系统，保障数据质量</a:t>
            </a:r>
            <a:endParaRPr lang="zh-CN" altLang="en-US" sz="1200" b="1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54177" y="2590801"/>
            <a:ext cx="1013240" cy="519277"/>
          </a:xfrm>
          <a:prstGeom prst="rect">
            <a:avLst/>
          </a:prstGeom>
        </p:spPr>
      </p:pic>
      <p:sp>
        <p:nvSpPr>
          <p:cNvPr id="111" name="Rectangle 34"/>
          <p:cNvSpPr/>
          <p:nvPr/>
        </p:nvSpPr>
        <p:spPr>
          <a:xfrm rot="2700000">
            <a:off x="5509032" y="1879553"/>
            <a:ext cx="720000" cy="252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900"/>
            <a:r>
              <a:rPr lang="en-US" altLang="zh-CN" sz="1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30</a:t>
            </a:r>
            <a:r>
              <a:rPr lang="zh-CN" altLang="en-US" sz="1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</a:t>
            </a:r>
            <a:endParaRPr lang="en-US" sz="1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09110" y="1798899"/>
            <a:ext cx="982913" cy="664284"/>
          </a:xfrm>
          <a:prstGeom prst="rect">
            <a:avLst/>
          </a:prstGeom>
        </p:spPr>
      </p:pic>
      <p:sp>
        <p:nvSpPr>
          <p:cNvPr id="116" name="矩形 115"/>
          <p:cNvSpPr/>
          <p:nvPr/>
        </p:nvSpPr>
        <p:spPr>
          <a:xfrm>
            <a:off x="604587" y="1343354"/>
            <a:ext cx="75640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630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重点：聚焦高管建设决策分析展示平台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4153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.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64</TotalTime>
  <Words>429</Words>
  <Application>Microsoft Macintosh PowerPoint</Application>
  <PresentationFormat>全屏显示(4:3)</PresentationFormat>
  <Paragraphs>124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6" baseType="lpstr">
      <vt:lpstr>Calibri</vt:lpstr>
      <vt:lpstr>DengXian</vt:lpstr>
      <vt:lpstr>Microsoft YaHei</vt:lpstr>
      <vt:lpstr>ＭＳ Ｐゴシック</vt:lpstr>
      <vt:lpstr>Wingdings</vt:lpstr>
      <vt:lpstr>等线</vt:lpstr>
      <vt:lpstr>黑体</vt:lpstr>
      <vt:lpstr>宋体</vt:lpstr>
      <vt:lpstr>微软雅黑</vt:lpstr>
      <vt:lpstr>Arial</vt:lpstr>
      <vt:lpstr>.</vt:lpstr>
      <vt:lpstr>1_Office 主题</vt:lpstr>
      <vt:lpstr>think-cell Slide</vt:lpstr>
      <vt:lpstr>开发计划</vt:lpstr>
      <vt:lpstr>工作计划</vt:lpstr>
      <vt:lpstr>平台架构设计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minghui li</cp:lastModifiedBy>
  <cp:revision>1124</cp:revision>
  <cp:lastPrinted>2018-01-05T11:55:34Z</cp:lastPrinted>
  <dcterms:created xsi:type="dcterms:W3CDTF">2017-08-01T07:25:32Z</dcterms:created>
  <dcterms:modified xsi:type="dcterms:W3CDTF">2018-04-27T03:20:40Z</dcterms:modified>
</cp:coreProperties>
</file>